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32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3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4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40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9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45" r:id="rId9"/>
    <p:sldId id="1962" r:id="rId10"/>
    <p:sldId id="1964" r:id="rId11"/>
    <p:sldId id="1965" r:id="rId12"/>
    <p:sldId id="1966" r:id="rId13"/>
    <p:sldId id="1967" r:id="rId14"/>
    <p:sldId id="1968" r:id="rId15"/>
    <p:sldId id="1969" r:id="rId16"/>
    <p:sldId id="1970" r:id="rId17"/>
    <p:sldId id="1971" r:id="rId18"/>
    <p:sldId id="1972" r:id="rId19"/>
    <p:sldId id="1973" r:id="rId20"/>
    <p:sldId id="1974" r:id="rId21"/>
    <p:sldId id="1975" r:id="rId22"/>
    <p:sldId id="1976" r:id="rId23"/>
    <p:sldId id="1977" r:id="rId24"/>
    <p:sldId id="1978" r:id="rId25"/>
    <p:sldId id="1942" r:id="rId26"/>
    <p:sldId id="1474" r:id="rId27"/>
    <p:sldId id="1481" r:id="rId28"/>
    <p:sldId id="1482" r:id="rId29"/>
    <p:sldId id="1475" r:id="rId30"/>
    <p:sldId id="1483" r:id="rId31"/>
    <p:sldId id="1923" r:id="rId32"/>
    <p:sldId id="1476" r:id="rId33"/>
    <p:sldId id="1523" r:id="rId34"/>
    <p:sldId id="1524" r:id="rId35"/>
    <p:sldId id="1595" r:id="rId36"/>
    <p:sldId id="1639" r:id="rId37"/>
    <p:sldId id="1802" r:id="rId38"/>
    <p:sldId id="1829" r:id="rId39"/>
    <p:sldId id="1823" r:id="rId40"/>
    <p:sldId id="1845" r:id="rId41"/>
    <p:sldId id="1864" r:id="rId42"/>
    <p:sldId id="1866" r:id="rId43"/>
    <p:sldId id="1886" r:id="rId44"/>
    <p:sldId id="1528" r:id="rId45"/>
    <p:sldId id="1530" r:id="rId46"/>
    <p:sldId id="1571" r:id="rId47"/>
    <p:sldId id="1572" r:id="rId48"/>
    <p:sldId id="1596" r:id="rId49"/>
    <p:sldId id="1615" r:id="rId50"/>
    <p:sldId id="1617" r:id="rId51"/>
    <p:sldId id="1641" r:id="rId52"/>
    <p:sldId id="1784" r:id="rId53"/>
    <p:sldId id="1804" r:id="rId54"/>
    <p:sldId id="1888" r:id="rId55"/>
    <p:sldId id="1907" r:id="rId56"/>
    <p:sldId id="1592" r:id="rId57"/>
    <p:sldId id="1593" r:id="rId58"/>
  </p:sldIdLst>
  <p:sldSz cx="12192000" cy="6858000"/>
  <p:notesSz cx="6858000" cy="9144000"/>
  <p:custDataLst>
    <p:tags r:id="rId6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34E"/>
    <a:srgbClr val="FFFF00"/>
    <a:srgbClr val="E4F828"/>
    <a:srgbClr val="000000"/>
    <a:srgbClr val="0000FF"/>
    <a:srgbClr val="00FF00"/>
    <a:srgbClr val="FF9966"/>
    <a:srgbClr val="FF9933"/>
    <a:srgbClr val="00B0F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commentAuthors" Target="commentAuthor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gs" Target="tags/tag1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J$1</c:f>
              <c:strCache>
                <c:ptCount val="87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</c:strCache>
            </c:strRef>
          </c:cat>
          <c:val>
            <c:numRef>
              <c:f>List1!$B$2:$CJ$2</c:f>
              <c:numCache>
                <c:formatCode>General</c:formatCode>
                <c:ptCount val="87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4</c:v>
                </c:pt>
                <c:pt idx="79">
                  <c:v>331</c:v>
                </c:pt>
                <c:pt idx="80">
                  <c:v>89</c:v>
                </c:pt>
                <c:pt idx="81">
                  <c:v>114</c:v>
                </c:pt>
                <c:pt idx="82">
                  <c:v>119</c:v>
                </c:pt>
                <c:pt idx="83">
                  <c:v>110</c:v>
                </c:pt>
                <c:pt idx="84">
                  <c:v>240</c:v>
                </c:pt>
                <c:pt idx="85">
                  <c:v>103</c:v>
                </c:pt>
                <c:pt idx="86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5973610883461726</c:v>
                </c:pt>
                <c:pt idx="1">
                  <c:v>0.14026389116538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800000000000004</c:v>
                </c:pt>
                <c:pt idx="1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82</c:f>
              <c:numCache>
                <c:formatCode>m/d/yyyy</c:formatCode>
                <c:ptCount val="48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</c:numCache>
            </c:numRef>
          </c:cat>
          <c:val>
            <c:numRef>
              <c:f>List1!$B$2:$B$482</c:f>
              <c:numCache>
                <c:formatCode>General</c:formatCode>
                <c:ptCount val="48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4</c:v>
                </c:pt>
                <c:pt idx="18">
                  <c:v>15</c:v>
                </c:pt>
                <c:pt idx="19">
                  <c:v>18</c:v>
                </c:pt>
                <c:pt idx="20">
                  <c:v>19</c:v>
                </c:pt>
                <c:pt idx="21">
                  <c:v>19</c:v>
                </c:pt>
                <c:pt idx="22">
                  <c:v>20</c:v>
                </c:pt>
                <c:pt idx="23">
                  <c:v>23</c:v>
                </c:pt>
                <c:pt idx="24">
                  <c:v>24</c:v>
                </c:pt>
                <c:pt idx="25">
                  <c:v>29</c:v>
                </c:pt>
                <c:pt idx="26">
                  <c:v>34</c:v>
                </c:pt>
                <c:pt idx="27">
                  <c:v>37</c:v>
                </c:pt>
                <c:pt idx="28">
                  <c:v>42</c:v>
                </c:pt>
                <c:pt idx="29">
                  <c:v>70</c:v>
                </c:pt>
                <c:pt idx="30">
                  <c:v>101</c:v>
                </c:pt>
                <c:pt idx="31">
                  <c:v>163</c:v>
                </c:pt>
                <c:pt idx="32">
                  <c:v>199</c:v>
                </c:pt>
                <c:pt idx="33">
                  <c:v>253</c:v>
                </c:pt>
                <c:pt idx="34">
                  <c:v>420</c:v>
                </c:pt>
                <c:pt idx="35">
                  <c:v>502</c:v>
                </c:pt>
                <c:pt idx="36">
                  <c:v>547</c:v>
                </c:pt>
                <c:pt idx="37">
                  <c:v>625</c:v>
                </c:pt>
                <c:pt idx="38">
                  <c:v>764</c:v>
                </c:pt>
                <c:pt idx="39">
                  <c:v>794</c:v>
                </c:pt>
                <c:pt idx="40">
                  <c:v>805</c:v>
                </c:pt>
                <c:pt idx="41">
                  <c:v>943</c:v>
                </c:pt>
                <c:pt idx="42">
                  <c:v>1165</c:v>
                </c:pt>
                <c:pt idx="43">
                  <c:v>1346</c:v>
                </c:pt>
                <c:pt idx="44">
                  <c:v>1541</c:v>
                </c:pt>
                <c:pt idx="45">
                  <c:v>1746</c:v>
                </c:pt>
                <c:pt idx="46">
                  <c:v>1901</c:v>
                </c:pt>
                <c:pt idx="47">
                  <c:v>1942</c:v>
                </c:pt>
                <c:pt idx="48">
                  <c:v>2184</c:v>
                </c:pt>
                <c:pt idx="49">
                  <c:v>2384</c:v>
                </c:pt>
                <c:pt idx="50">
                  <c:v>2710</c:v>
                </c:pt>
                <c:pt idx="51">
                  <c:v>2938</c:v>
                </c:pt>
                <c:pt idx="52">
                  <c:v>3354</c:v>
                </c:pt>
                <c:pt idx="53">
                  <c:v>3581</c:v>
                </c:pt>
                <c:pt idx="54">
                  <c:v>3776</c:v>
                </c:pt>
                <c:pt idx="55">
                  <c:v>4163</c:v>
                </c:pt>
                <c:pt idx="56">
                  <c:v>4685</c:v>
                </c:pt>
                <c:pt idx="57">
                  <c:v>4945</c:v>
                </c:pt>
                <c:pt idx="58">
                  <c:v>5483</c:v>
                </c:pt>
                <c:pt idx="59">
                  <c:v>6070</c:v>
                </c:pt>
                <c:pt idx="60">
                  <c:v>6407</c:v>
                </c:pt>
                <c:pt idx="61">
                  <c:v>6619</c:v>
                </c:pt>
                <c:pt idx="62">
                  <c:v>6950</c:v>
                </c:pt>
                <c:pt idx="63">
                  <c:v>7282</c:v>
                </c:pt>
                <c:pt idx="64">
                  <c:v>7706</c:v>
                </c:pt>
                <c:pt idx="65">
                  <c:v>8239</c:v>
                </c:pt>
                <c:pt idx="66">
                  <c:v>8727</c:v>
                </c:pt>
                <c:pt idx="67">
                  <c:v>8941</c:v>
                </c:pt>
                <c:pt idx="68">
                  <c:v>9019</c:v>
                </c:pt>
                <c:pt idx="69">
                  <c:v>9223</c:v>
                </c:pt>
                <c:pt idx="70">
                  <c:v>9608</c:v>
                </c:pt>
                <c:pt idx="71">
                  <c:v>10285</c:v>
                </c:pt>
                <c:pt idx="72">
                  <c:v>10783</c:v>
                </c:pt>
                <c:pt idx="73">
                  <c:v>11264</c:v>
                </c:pt>
                <c:pt idx="74">
                  <c:v>11444</c:v>
                </c:pt>
                <c:pt idx="75">
                  <c:v>11608</c:v>
                </c:pt>
                <c:pt idx="76">
                  <c:v>11990</c:v>
                </c:pt>
                <c:pt idx="77">
                  <c:v>12128</c:v>
                </c:pt>
                <c:pt idx="78">
                  <c:v>12394</c:v>
                </c:pt>
                <c:pt idx="79">
                  <c:v>12663</c:v>
                </c:pt>
                <c:pt idx="80">
                  <c:v>12902</c:v>
                </c:pt>
                <c:pt idx="81">
                  <c:v>12996</c:v>
                </c:pt>
                <c:pt idx="82">
                  <c:v>13087</c:v>
                </c:pt>
                <c:pt idx="83">
                  <c:v>13465</c:v>
                </c:pt>
                <c:pt idx="84">
                  <c:v>13663</c:v>
                </c:pt>
                <c:pt idx="85">
                  <c:v>13788</c:v>
                </c:pt>
                <c:pt idx="86">
                  <c:v>13982</c:v>
                </c:pt>
                <c:pt idx="87">
                  <c:v>14121</c:v>
                </c:pt>
                <c:pt idx="88">
                  <c:v>14199</c:v>
                </c:pt>
                <c:pt idx="89">
                  <c:v>14227</c:v>
                </c:pt>
                <c:pt idx="90">
                  <c:v>14440</c:v>
                </c:pt>
                <c:pt idx="91">
                  <c:v>14563</c:v>
                </c:pt>
                <c:pt idx="92">
                  <c:v>14695</c:v>
                </c:pt>
                <c:pt idx="93">
                  <c:v>14823</c:v>
                </c:pt>
                <c:pt idx="94">
                  <c:v>14965</c:v>
                </c:pt>
                <c:pt idx="95">
                  <c:v>15053</c:v>
                </c:pt>
                <c:pt idx="96">
                  <c:v>15073</c:v>
                </c:pt>
                <c:pt idx="97">
                  <c:v>15215</c:v>
                </c:pt>
                <c:pt idx="98">
                  <c:v>15304</c:v>
                </c:pt>
                <c:pt idx="99">
                  <c:v>15445</c:v>
                </c:pt>
                <c:pt idx="100">
                  <c:v>15528</c:v>
                </c:pt>
                <c:pt idx="101">
                  <c:v>15758</c:v>
                </c:pt>
                <c:pt idx="102">
                  <c:v>15825</c:v>
                </c:pt>
                <c:pt idx="103">
                  <c:v>15874</c:v>
                </c:pt>
                <c:pt idx="104">
                  <c:v>16022</c:v>
                </c:pt>
                <c:pt idx="105">
                  <c:v>16155</c:v>
                </c:pt>
                <c:pt idx="106">
                  <c:v>16255</c:v>
                </c:pt>
                <c:pt idx="107">
                  <c:v>16323</c:v>
                </c:pt>
                <c:pt idx="108">
                  <c:v>16545</c:v>
                </c:pt>
                <c:pt idx="109">
                  <c:v>16606</c:v>
                </c:pt>
                <c:pt idx="110">
                  <c:v>16627</c:v>
                </c:pt>
                <c:pt idx="111">
                  <c:v>16805</c:v>
                </c:pt>
                <c:pt idx="112">
                  <c:v>16981</c:v>
                </c:pt>
                <c:pt idx="113">
                  <c:v>17103</c:v>
                </c:pt>
                <c:pt idx="114">
                  <c:v>17121</c:v>
                </c:pt>
                <c:pt idx="115">
                  <c:v>17192</c:v>
                </c:pt>
                <c:pt idx="116">
                  <c:v>17270</c:v>
                </c:pt>
                <c:pt idx="117">
                  <c:v>17368</c:v>
                </c:pt>
                <c:pt idx="118">
                  <c:v>17533</c:v>
                </c:pt>
                <c:pt idx="119">
                  <c:v>17718</c:v>
                </c:pt>
                <c:pt idx="120">
                  <c:v>17862</c:v>
                </c:pt>
                <c:pt idx="121">
                  <c:v>17995</c:v>
                </c:pt>
                <c:pt idx="122">
                  <c:v>18060</c:v>
                </c:pt>
                <c:pt idx="123">
                  <c:v>18119</c:v>
                </c:pt>
                <c:pt idx="124">
                  <c:v>18160</c:v>
                </c:pt>
                <c:pt idx="125">
                  <c:v>18429</c:v>
                </c:pt>
                <c:pt idx="126">
                  <c:v>18581</c:v>
                </c:pt>
                <c:pt idx="127">
                  <c:v>18741</c:v>
                </c:pt>
                <c:pt idx="128">
                  <c:v>18973</c:v>
                </c:pt>
                <c:pt idx="129">
                  <c:v>19158</c:v>
                </c:pt>
                <c:pt idx="130">
                  <c:v>19219</c:v>
                </c:pt>
                <c:pt idx="131">
                  <c:v>19250</c:v>
                </c:pt>
                <c:pt idx="132">
                  <c:v>19488</c:v>
                </c:pt>
                <c:pt idx="133">
                  <c:v>19614</c:v>
                </c:pt>
                <c:pt idx="134">
                  <c:v>19789</c:v>
                </c:pt>
                <c:pt idx="135">
                  <c:v>19886</c:v>
                </c:pt>
                <c:pt idx="136">
                  <c:v>19972</c:v>
                </c:pt>
                <c:pt idx="137">
                  <c:v>20007</c:v>
                </c:pt>
                <c:pt idx="138">
                  <c:v>20052</c:v>
                </c:pt>
                <c:pt idx="139">
                  <c:v>20213</c:v>
                </c:pt>
                <c:pt idx="140">
                  <c:v>20292</c:v>
                </c:pt>
                <c:pt idx="141">
                  <c:v>20438</c:v>
                </c:pt>
                <c:pt idx="142">
                  <c:v>20544</c:v>
                </c:pt>
                <c:pt idx="143">
                  <c:v>20658</c:v>
                </c:pt>
                <c:pt idx="144">
                  <c:v>20711</c:v>
                </c:pt>
                <c:pt idx="145">
                  <c:v>20736</c:v>
                </c:pt>
                <c:pt idx="146">
                  <c:v>20820</c:v>
                </c:pt>
                <c:pt idx="147">
                  <c:v>20861</c:v>
                </c:pt>
                <c:pt idx="148">
                  <c:v>20956</c:v>
                </c:pt>
                <c:pt idx="149">
                  <c:v>21022</c:v>
                </c:pt>
                <c:pt idx="150">
                  <c:v>21059</c:v>
                </c:pt>
                <c:pt idx="151">
                  <c:v>21108</c:v>
                </c:pt>
                <c:pt idx="152">
                  <c:v>21117</c:v>
                </c:pt>
                <c:pt idx="153">
                  <c:v>21222</c:v>
                </c:pt>
                <c:pt idx="154">
                  <c:v>21316</c:v>
                </c:pt>
                <c:pt idx="155">
                  <c:v>21418</c:v>
                </c:pt>
                <c:pt idx="156">
                  <c:v>21500</c:v>
                </c:pt>
                <c:pt idx="157">
                  <c:v>21584</c:v>
                </c:pt>
                <c:pt idx="158">
                  <c:v>21626</c:v>
                </c:pt>
                <c:pt idx="159">
                  <c:v>21642</c:v>
                </c:pt>
                <c:pt idx="160">
                  <c:v>21707</c:v>
                </c:pt>
                <c:pt idx="161">
                  <c:v>21773</c:v>
                </c:pt>
                <c:pt idx="162">
                  <c:v>21840</c:v>
                </c:pt>
                <c:pt idx="163">
                  <c:v>21905</c:v>
                </c:pt>
                <c:pt idx="164">
                  <c:v>21957</c:v>
                </c:pt>
                <c:pt idx="165">
                  <c:v>21965</c:v>
                </c:pt>
                <c:pt idx="166">
                  <c:v>21978</c:v>
                </c:pt>
                <c:pt idx="167">
                  <c:v>22015</c:v>
                </c:pt>
                <c:pt idx="168">
                  <c:v>22032</c:v>
                </c:pt>
                <c:pt idx="169">
                  <c:v>22062</c:v>
                </c:pt>
                <c:pt idx="170">
                  <c:v>22089</c:v>
                </c:pt>
                <c:pt idx="171">
                  <c:v>22116</c:v>
                </c:pt>
                <c:pt idx="172">
                  <c:v>22134</c:v>
                </c:pt>
                <c:pt idx="173">
                  <c:v>22139</c:v>
                </c:pt>
                <c:pt idx="174">
                  <c:v>22228</c:v>
                </c:pt>
                <c:pt idx="175">
                  <c:v>22263</c:v>
                </c:pt>
                <c:pt idx="176">
                  <c:v>22297</c:v>
                </c:pt>
                <c:pt idx="177">
                  <c:v>22343</c:v>
                </c:pt>
                <c:pt idx="178">
                  <c:v>22389</c:v>
                </c:pt>
                <c:pt idx="179">
                  <c:v>22398</c:v>
                </c:pt>
                <c:pt idx="180">
                  <c:v>22401</c:v>
                </c:pt>
                <c:pt idx="181">
                  <c:v>22479</c:v>
                </c:pt>
                <c:pt idx="182">
                  <c:v>22507</c:v>
                </c:pt>
                <c:pt idx="183">
                  <c:v>22553</c:v>
                </c:pt>
                <c:pt idx="184">
                  <c:v>22562</c:v>
                </c:pt>
                <c:pt idx="185">
                  <c:v>22585</c:v>
                </c:pt>
                <c:pt idx="186">
                  <c:v>22590</c:v>
                </c:pt>
                <c:pt idx="187">
                  <c:v>22595</c:v>
                </c:pt>
                <c:pt idx="188">
                  <c:v>22622</c:v>
                </c:pt>
                <c:pt idx="189">
                  <c:v>22699</c:v>
                </c:pt>
                <c:pt idx="190">
                  <c:v>22754</c:v>
                </c:pt>
                <c:pt idx="191">
                  <c:v>22766</c:v>
                </c:pt>
                <c:pt idx="192">
                  <c:v>22791</c:v>
                </c:pt>
                <c:pt idx="193">
                  <c:v>22800</c:v>
                </c:pt>
                <c:pt idx="194">
                  <c:v>22806</c:v>
                </c:pt>
                <c:pt idx="195">
                  <c:v>22833</c:v>
                </c:pt>
                <c:pt idx="196">
                  <c:v>22853</c:v>
                </c:pt>
                <c:pt idx="197">
                  <c:v>22860</c:v>
                </c:pt>
                <c:pt idx="198">
                  <c:v>22897</c:v>
                </c:pt>
                <c:pt idx="199">
                  <c:v>22915</c:v>
                </c:pt>
                <c:pt idx="200">
                  <c:v>22924</c:v>
                </c:pt>
                <c:pt idx="201">
                  <c:v>22928</c:v>
                </c:pt>
                <c:pt idx="202">
                  <c:v>22942</c:v>
                </c:pt>
                <c:pt idx="203">
                  <c:v>22970</c:v>
                </c:pt>
                <c:pt idx="204">
                  <c:v>22989</c:v>
                </c:pt>
                <c:pt idx="205">
                  <c:v>23020</c:v>
                </c:pt>
                <c:pt idx="206">
                  <c:v>23026</c:v>
                </c:pt>
                <c:pt idx="207">
                  <c:v>23029</c:v>
                </c:pt>
                <c:pt idx="208">
                  <c:v>23033</c:v>
                </c:pt>
                <c:pt idx="209">
                  <c:v>23054</c:v>
                </c:pt>
                <c:pt idx="210">
                  <c:v>23064</c:v>
                </c:pt>
                <c:pt idx="211">
                  <c:v>23073</c:v>
                </c:pt>
                <c:pt idx="212">
                  <c:v>23082</c:v>
                </c:pt>
                <c:pt idx="213">
                  <c:v>23085</c:v>
                </c:pt>
                <c:pt idx="214">
                  <c:v>23088</c:v>
                </c:pt>
                <c:pt idx="215">
                  <c:v>23090</c:v>
                </c:pt>
                <c:pt idx="216">
                  <c:v>23091</c:v>
                </c:pt>
                <c:pt idx="217">
                  <c:v>23096</c:v>
                </c:pt>
                <c:pt idx="218">
                  <c:v>23114</c:v>
                </c:pt>
                <c:pt idx="219">
                  <c:v>23115</c:v>
                </c:pt>
                <c:pt idx="220">
                  <c:v>23118</c:v>
                </c:pt>
                <c:pt idx="221">
                  <c:v>23119</c:v>
                </c:pt>
                <c:pt idx="222">
                  <c:v>23119</c:v>
                </c:pt>
                <c:pt idx="223">
                  <c:v>23120</c:v>
                </c:pt>
                <c:pt idx="224">
                  <c:v>23122</c:v>
                </c:pt>
                <c:pt idx="225">
                  <c:v>23123</c:v>
                </c:pt>
                <c:pt idx="226">
                  <c:v>23126</c:v>
                </c:pt>
                <c:pt idx="227">
                  <c:v>23127</c:v>
                </c:pt>
                <c:pt idx="228">
                  <c:v>23128</c:v>
                </c:pt>
                <c:pt idx="229">
                  <c:v>23129</c:v>
                </c:pt>
                <c:pt idx="230">
                  <c:v>23134</c:v>
                </c:pt>
                <c:pt idx="231">
                  <c:v>23138</c:v>
                </c:pt>
                <c:pt idx="232">
                  <c:v>23141</c:v>
                </c:pt>
                <c:pt idx="233">
                  <c:v>23150</c:v>
                </c:pt>
                <c:pt idx="234">
                  <c:v>23154</c:v>
                </c:pt>
                <c:pt idx="235">
                  <c:v>23155</c:v>
                </c:pt>
                <c:pt idx="236">
                  <c:v>23155</c:v>
                </c:pt>
                <c:pt idx="237">
                  <c:v>23156</c:v>
                </c:pt>
                <c:pt idx="238">
                  <c:v>23159</c:v>
                </c:pt>
                <c:pt idx="239">
                  <c:v>23160</c:v>
                </c:pt>
                <c:pt idx="240">
                  <c:v>23162</c:v>
                </c:pt>
                <c:pt idx="241">
                  <c:v>23163</c:v>
                </c:pt>
                <c:pt idx="242">
                  <c:v>23163</c:v>
                </c:pt>
                <c:pt idx="243">
                  <c:v>23163</c:v>
                </c:pt>
                <c:pt idx="244">
                  <c:v>23163</c:v>
                </c:pt>
                <c:pt idx="245">
                  <c:v>23163</c:v>
                </c:pt>
                <c:pt idx="246">
                  <c:v>23165</c:v>
                </c:pt>
                <c:pt idx="247">
                  <c:v>23165</c:v>
                </c:pt>
                <c:pt idx="248">
                  <c:v>23166</c:v>
                </c:pt>
                <c:pt idx="249">
                  <c:v>23166</c:v>
                </c:pt>
                <c:pt idx="250">
                  <c:v>23169</c:v>
                </c:pt>
                <c:pt idx="251">
                  <c:v>23174</c:v>
                </c:pt>
                <c:pt idx="252">
                  <c:v>23176</c:v>
                </c:pt>
                <c:pt idx="253">
                  <c:v>23176</c:v>
                </c:pt>
                <c:pt idx="254">
                  <c:v>23178</c:v>
                </c:pt>
                <c:pt idx="255">
                  <c:v>23181</c:v>
                </c:pt>
                <c:pt idx="256">
                  <c:v>23182</c:v>
                </c:pt>
                <c:pt idx="257">
                  <c:v>23182</c:v>
                </c:pt>
                <c:pt idx="258">
                  <c:v>23185</c:v>
                </c:pt>
                <c:pt idx="259">
                  <c:v>23185</c:v>
                </c:pt>
                <c:pt idx="260">
                  <c:v>23187</c:v>
                </c:pt>
                <c:pt idx="261">
                  <c:v>23187</c:v>
                </c:pt>
                <c:pt idx="262">
                  <c:v>23187</c:v>
                </c:pt>
                <c:pt idx="263">
                  <c:v>23187</c:v>
                </c:pt>
                <c:pt idx="264">
                  <c:v>23187</c:v>
                </c:pt>
                <c:pt idx="265">
                  <c:v>23189</c:v>
                </c:pt>
                <c:pt idx="266">
                  <c:v>23189</c:v>
                </c:pt>
                <c:pt idx="267">
                  <c:v>23189</c:v>
                </c:pt>
                <c:pt idx="268">
                  <c:v>23189</c:v>
                </c:pt>
                <c:pt idx="269">
                  <c:v>23189</c:v>
                </c:pt>
                <c:pt idx="270">
                  <c:v>23189</c:v>
                </c:pt>
                <c:pt idx="271">
                  <c:v>23189</c:v>
                </c:pt>
                <c:pt idx="272">
                  <c:v>23189</c:v>
                </c:pt>
                <c:pt idx="273">
                  <c:v>23189</c:v>
                </c:pt>
                <c:pt idx="274">
                  <c:v>23192</c:v>
                </c:pt>
                <c:pt idx="275">
                  <c:v>23193</c:v>
                </c:pt>
                <c:pt idx="276">
                  <c:v>23193</c:v>
                </c:pt>
                <c:pt idx="277">
                  <c:v>23193</c:v>
                </c:pt>
                <c:pt idx="278">
                  <c:v>23193</c:v>
                </c:pt>
                <c:pt idx="279">
                  <c:v>23193</c:v>
                </c:pt>
                <c:pt idx="280">
                  <c:v>23193</c:v>
                </c:pt>
                <c:pt idx="281">
                  <c:v>23193</c:v>
                </c:pt>
                <c:pt idx="282">
                  <c:v>23193</c:v>
                </c:pt>
                <c:pt idx="283">
                  <c:v>23194</c:v>
                </c:pt>
                <c:pt idx="284">
                  <c:v>23194</c:v>
                </c:pt>
                <c:pt idx="285">
                  <c:v>23194</c:v>
                </c:pt>
                <c:pt idx="286">
                  <c:v>23194</c:v>
                </c:pt>
                <c:pt idx="287">
                  <c:v>23194</c:v>
                </c:pt>
                <c:pt idx="288">
                  <c:v>23194</c:v>
                </c:pt>
                <c:pt idx="289">
                  <c:v>23195</c:v>
                </c:pt>
                <c:pt idx="290">
                  <c:v>23195</c:v>
                </c:pt>
                <c:pt idx="291">
                  <c:v>23195</c:v>
                </c:pt>
                <c:pt idx="292">
                  <c:v>23195</c:v>
                </c:pt>
                <c:pt idx="293">
                  <c:v>23195</c:v>
                </c:pt>
                <c:pt idx="294">
                  <c:v>23195</c:v>
                </c:pt>
                <c:pt idx="295">
                  <c:v>23196</c:v>
                </c:pt>
                <c:pt idx="296">
                  <c:v>23197</c:v>
                </c:pt>
                <c:pt idx="297">
                  <c:v>23197</c:v>
                </c:pt>
                <c:pt idx="298">
                  <c:v>23197</c:v>
                </c:pt>
                <c:pt idx="299">
                  <c:v>23197</c:v>
                </c:pt>
                <c:pt idx="300">
                  <c:v>23197</c:v>
                </c:pt>
                <c:pt idx="301">
                  <c:v>23197</c:v>
                </c:pt>
                <c:pt idx="302">
                  <c:v>23197</c:v>
                </c:pt>
                <c:pt idx="303">
                  <c:v>23198</c:v>
                </c:pt>
                <c:pt idx="304">
                  <c:v>23198</c:v>
                </c:pt>
                <c:pt idx="305">
                  <c:v>23198</c:v>
                </c:pt>
                <c:pt idx="306">
                  <c:v>23199</c:v>
                </c:pt>
                <c:pt idx="307">
                  <c:v>23199</c:v>
                </c:pt>
                <c:pt idx="308">
                  <c:v>23199</c:v>
                </c:pt>
                <c:pt idx="309">
                  <c:v>23199</c:v>
                </c:pt>
                <c:pt idx="310">
                  <c:v>23200</c:v>
                </c:pt>
                <c:pt idx="311">
                  <c:v>23200</c:v>
                </c:pt>
                <c:pt idx="312">
                  <c:v>23200</c:v>
                </c:pt>
                <c:pt idx="313">
                  <c:v>23200</c:v>
                </c:pt>
                <c:pt idx="314">
                  <c:v>23200</c:v>
                </c:pt>
                <c:pt idx="315">
                  <c:v>23200</c:v>
                </c:pt>
                <c:pt idx="316">
                  <c:v>23200</c:v>
                </c:pt>
                <c:pt idx="317">
                  <c:v>23200</c:v>
                </c:pt>
                <c:pt idx="318">
                  <c:v>23200</c:v>
                </c:pt>
                <c:pt idx="319">
                  <c:v>23200</c:v>
                </c:pt>
                <c:pt idx="320">
                  <c:v>23200</c:v>
                </c:pt>
                <c:pt idx="321">
                  <c:v>23200</c:v>
                </c:pt>
                <c:pt idx="322">
                  <c:v>23200</c:v>
                </c:pt>
                <c:pt idx="323">
                  <c:v>23200</c:v>
                </c:pt>
                <c:pt idx="324">
                  <c:v>23200</c:v>
                </c:pt>
                <c:pt idx="325">
                  <c:v>23200</c:v>
                </c:pt>
                <c:pt idx="326">
                  <c:v>23201</c:v>
                </c:pt>
                <c:pt idx="327">
                  <c:v>23201</c:v>
                </c:pt>
                <c:pt idx="328">
                  <c:v>23201</c:v>
                </c:pt>
                <c:pt idx="329">
                  <c:v>23201</c:v>
                </c:pt>
                <c:pt idx="330">
                  <c:v>23201</c:v>
                </c:pt>
                <c:pt idx="331">
                  <c:v>23201</c:v>
                </c:pt>
                <c:pt idx="332">
                  <c:v>23201</c:v>
                </c:pt>
                <c:pt idx="333">
                  <c:v>23201</c:v>
                </c:pt>
                <c:pt idx="334">
                  <c:v>23201</c:v>
                </c:pt>
                <c:pt idx="335">
                  <c:v>23201</c:v>
                </c:pt>
                <c:pt idx="336">
                  <c:v>23201</c:v>
                </c:pt>
                <c:pt idx="337">
                  <c:v>23201</c:v>
                </c:pt>
                <c:pt idx="338">
                  <c:v>23201</c:v>
                </c:pt>
                <c:pt idx="339">
                  <c:v>23201</c:v>
                </c:pt>
                <c:pt idx="340">
                  <c:v>23201</c:v>
                </c:pt>
                <c:pt idx="341">
                  <c:v>23201</c:v>
                </c:pt>
                <c:pt idx="342">
                  <c:v>23201</c:v>
                </c:pt>
                <c:pt idx="343">
                  <c:v>23201</c:v>
                </c:pt>
                <c:pt idx="344">
                  <c:v>23201</c:v>
                </c:pt>
                <c:pt idx="345">
                  <c:v>23201</c:v>
                </c:pt>
                <c:pt idx="346">
                  <c:v>23201</c:v>
                </c:pt>
                <c:pt idx="347">
                  <c:v>23201</c:v>
                </c:pt>
                <c:pt idx="348">
                  <c:v>23201</c:v>
                </c:pt>
                <c:pt idx="349">
                  <c:v>23202</c:v>
                </c:pt>
                <c:pt idx="350">
                  <c:v>23203</c:v>
                </c:pt>
                <c:pt idx="351">
                  <c:v>23203</c:v>
                </c:pt>
                <c:pt idx="352">
                  <c:v>23204</c:v>
                </c:pt>
                <c:pt idx="353">
                  <c:v>23204</c:v>
                </c:pt>
                <c:pt idx="354">
                  <c:v>23204</c:v>
                </c:pt>
                <c:pt idx="355">
                  <c:v>23204</c:v>
                </c:pt>
                <c:pt idx="356">
                  <c:v>23206</c:v>
                </c:pt>
                <c:pt idx="357">
                  <c:v>23206</c:v>
                </c:pt>
                <c:pt idx="358">
                  <c:v>23206</c:v>
                </c:pt>
                <c:pt idx="359">
                  <c:v>23206</c:v>
                </c:pt>
                <c:pt idx="360">
                  <c:v>23206</c:v>
                </c:pt>
                <c:pt idx="361">
                  <c:v>23206</c:v>
                </c:pt>
                <c:pt idx="362">
                  <c:v>23206</c:v>
                </c:pt>
                <c:pt idx="363">
                  <c:v>23206</c:v>
                </c:pt>
                <c:pt idx="364">
                  <c:v>23206</c:v>
                </c:pt>
                <c:pt idx="365">
                  <c:v>23207</c:v>
                </c:pt>
                <c:pt idx="366">
                  <c:v>23211</c:v>
                </c:pt>
                <c:pt idx="367">
                  <c:v>23213</c:v>
                </c:pt>
                <c:pt idx="368">
                  <c:v>23214</c:v>
                </c:pt>
                <c:pt idx="369">
                  <c:v>23214</c:v>
                </c:pt>
                <c:pt idx="370">
                  <c:v>23218</c:v>
                </c:pt>
                <c:pt idx="371">
                  <c:v>23218</c:v>
                </c:pt>
                <c:pt idx="372">
                  <c:v>23218</c:v>
                </c:pt>
                <c:pt idx="373">
                  <c:v>23219</c:v>
                </c:pt>
                <c:pt idx="374">
                  <c:v>23219</c:v>
                </c:pt>
                <c:pt idx="375">
                  <c:v>23219</c:v>
                </c:pt>
                <c:pt idx="376">
                  <c:v>23219</c:v>
                </c:pt>
                <c:pt idx="377">
                  <c:v>23220</c:v>
                </c:pt>
                <c:pt idx="378">
                  <c:v>23220</c:v>
                </c:pt>
                <c:pt idx="379">
                  <c:v>23220</c:v>
                </c:pt>
                <c:pt idx="380">
                  <c:v>23220</c:v>
                </c:pt>
                <c:pt idx="381">
                  <c:v>23220</c:v>
                </c:pt>
                <c:pt idx="382">
                  <c:v>23220</c:v>
                </c:pt>
                <c:pt idx="383">
                  <c:v>23220</c:v>
                </c:pt>
                <c:pt idx="384">
                  <c:v>23221</c:v>
                </c:pt>
                <c:pt idx="385">
                  <c:v>23225</c:v>
                </c:pt>
                <c:pt idx="386">
                  <c:v>23226</c:v>
                </c:pt>
                <c:pt idx="387">
                  <c:v>23226</c:v>
                </c:pt>
                <c:pt idx="388">
                  <c:v>23226</c:v>
                </c:pt>
                <c:pt idx="389">
                  <c:v>23226</c:v>
                </c:pt>
                <c:pt idx="390">
                  <c:v>23226</c:v>
                </c:pt>
                <c:pt idx="391">
                  <c:v>23228</c:v>
                </c:pt>
                <c:pt idx="392">
                  <c:v>23228</c:v>
                </c:pt>
                <c:pt idx="393">
                  <c:v>23229</c:v>
                </c:pt>
                <c:pt idx="394">
                  <c:v>23229</c:v>
                </c:pt>
                <c:pt idx="395">
                  <c:v>23230</c:v>
                </c:pt>
                <c:pt idx="396">
                  <c:v>23231</c:v>
                </c:pt>
                <c:pt idx="397">
                  <c:v>23232</c:v>
                </c:pt>
                <c:pt idx="398">
                  <c:v>23234</c:v>
                </c:pt>
                <c:pt idx="399">
                  <c:v>23236</c:v>
                </c:pt>
                <c:pt idx="400">
                  <c:v>23247</c:v>
                </c:pt>
                <c:pt idx="401">
                  <c:v>23249</c:v>
                </c:pt>
                <c:pt idx="402">
                  <c:v>23274</c:v>
                </c:pt>
                <c:pt idx="403">
                  <c:v>23275</c:v>
                </c:pt>
                <c:pt idx="404">
                  <c:v>23275</c:v>
                </c:pt>
                <c:pt idx="405">
                  <c:v>23276</c:v>
                </c:pt>
                <c:pt idx="406">
                  <c:v>23276</c:v>
                </c:pt>
                <c:pt idx="407">
                  <c:v>23296</c:v>
                </c:pt>
                <c:pt idx="408">
                  <c:v>23299</c:v>
                </c:pt>
                <c:pt idx="409">
                  <c:v>23301</c:v>
                </c:pt>
                <c:pt idx="410">
                  <c:v>23301</c:v>
                </c:pt>
                <c:pt idx="411">
                  <c:v>23301</c:v>
                </c:pt>
                <c:pt idx="412">
                  <c:v>23307</c:v>
                </c:pt>
                <c:pt idx="413">
                  <c:v>23311</c:v>
                </c:pt>
                <c:pt idx="414">
                  <c:v>23315</c:v>
                </c:pt>
                <c:pt idx="415">
                  <c:v>23317</c:v>
                </c:pt>
                <c:pt idx="416">
                  <c:v>23322</c:v>
                </c:pt>
                <c:pt idx="417">
                  <c:v>23323</c:v>
                </c:pt>
                <c:pt idx="418">
                  <c:v>23324</c:v>
                </c:pt>
                <c:pt idx="419">
                  <c:v>23338</c:v>
                </c:pt>
                <c:pt idx="420">
                  <c:v>23347</c:v>
                </c:pt>
                <c:pt idx="421">
                  <c:v>23358</c:v>
                </c:pt>
                <c:pt idx="422">
                  <c:v>23358</c:v>
                </c:pt>
                <c:pt idx="423">
                  <c:v>23376</c:v>
                </c:pt>
                <c:pt idx="424">
                  <c:v>23383</c:v>
                </c:pt>
                <c:pt idx="425">
                  <c:v>23394</c:v>
                </c:pt>
                <c:pt idx="426">
                  <c:v>23429</c:v>
                </c:pt>
                <c:pt idx="427">
                  <c:v>23442</c:v>
                </c:pt>
                <c:pt idx="428">
                  <c:v>23458</c:v>
                </c:pt>
                <c:pt idx="429">
                  <c:v>23510</c:v>
                </c:pt>
                <c:pt idx="430">
                  <c:v>23533</c:v>
                </c:pt>
                <c:pt idx="431">
                  <c:v>23539</c:v>
                </c:pt>
                <c:pt idx="432">
                  <c:v>23544</c:v>
                </c:pt>
                <c:pt idx="433">
                  <c:v>23573</c:v>
                </c:pt>
                <c:pt idx="434">
                  <c:v>23602</c:v>
                </c:pt>
                <c:pt idx="435">
                  <c:v>23617</c:v>
                </c:pt>
                <c:pt idx="436">
                  <c:v>23635</c:v>
                </c:pt>
                <c:pt idx="437">
                  <c:v>23652</c:v>
                </c:pt>
                <c:pt idx="438">
                  <c:v>23665</c:v>
                </c:pt>
                <c:pt idx="439">
                  <c:v>23679</c:v>
                </c:pt>
                <c:pt idx="440">
                  <c:v>23722</c:v>
                </c:pt>
                <c:pt idx="441">
                  <c:v>23754</c:v>
                </c:pt>
                <c:pt idx="442">
                  <c:v>23777</c:v>
                </c:pt>
                <c:pt idx="443">
                  <c:v>23832</c:v>
                </c:pt>
                <c:pt idx="444">
                  <c:v>23916</c:v>
                </c:pt>
                <c:pt idx="445">
                  <c:v>23942</c:v>
                </c:pt>
                <c:pt idx="446">
                  <c:v>23951</c:v>
                </c:pt>
                <c:pt idx="447">
                  <c:v>23999</c:v>
                </c:pt>
                <c:pt idx="448">
                  <c:v>24022</c:v>
                </c:pt>
                <c:pt idx="449">
                  <c:v>24063</c:v>
                </c:pt>
                <c:pt idx="450">
                  <c:v>24093</c:v>
                </c:pt>
                <c:pt idx="451">
                  <c:v>24145</c:v>
                </c:pt>
                <c:pt idx="452">
                  <c:v>24150</c:v>
                </c:pt>
                <c:pt idx="453">
                  <c:v>24157</c:v>
                </c:pt>
                <c:pt idx="454">
                  <c:v>24195</c:v>
                </c:pt>
                <c:pt idx="455">
                  <c:v>24208</c:v>
                </c:pt>
                <c:pt idx="456">
                  <c:v>24238</c:v>
                </c:pt>
                <c:pt idx="457">
                  <c:v>24266</c:v>
                </c:pt>
                <c:pt idx="458">
                  <c:v>24280</c:v>
                </c:pt>
                <c:pt idx="459">
                  <c:v>24318</c:v>
                </c:pt>
                <c:pt idx="460">
                  <c:v>24323</c:v>
                </c:pt>
                <c:pt idx="461">
                  <c:v>24349</c:v>
                </c:pt>
                <c:pt idx="462">
                  <c:v>24371</c:v>
                </c:pt>
                <c:pt idx="463">
                  <c:v>24383</c:v>
                </c:pt>
                <c:pt idx="464">
                  <c:v>24413</c:v>
                </c:pt>
                <c:pt idx="465">
                  <c:v>24439</c:v>
                </c:pt>
                <c:pt idx="466">
                  <c:v>24444</c:v>
                </c:pt>
                <c:pt idx="467">
                  <c:v>24445</c:v>
                </c:pt>
                <c:pt idx="468">
                  <c:v>24455</c:v>
                </c:pt>
                <c:pt idx="469">
                  <c:v>24481</c:v>
                </c:pt>
                <c:pt idx="470">
                  <c:v>24494</c:v>
                </c:pt>
                <c:pt idx="471">
                  <c:v>24508</c:v>
                </c:pt>
                <c:pt idx="472">
                  <c:v>24529</c:v>
                </c:pt>
                <c:pt idx="473">
                  <c:v>24531</c:v>
                </c:pt>
                <c:pt idx="474">
                  <c:v>24532</c:v>
                </c:pt>
                <c:pt idx="475">
                  <c:v>24541</c:v>
                </c:pt>
                <c:pt idx="476">
                  <c:v>24552</c:v>
                </c:pt>
                <c:pt idx="477">
                  <c:v>24554</c:v>
                </c:pt>
                <c:pt idx="478">
                  <c:v>24559</c:v>
                </c:pt>
                <c:pt idx="479">
                  <c:v>24560</c:v>
                </c:pt>
                <c:pt idx="480">
                  <c:v>245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82</c:f>
              <c:numCache>
                <c:formatCode>m/d/yyyy</c:formatCode>
                <c:ptCount val="48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</c:numCache>
            </c:numRef>
          </c:cat>
          <c:val>
            <c:numRef>
              <c:f>List1!$C$2:$C$482</c:f>
              <c:numCache>
                <c:formatCode>General</c:formatCode>
                <c:ptCount val="4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3</c:v>
                </c:pt>
                <c:pt idx="22">
                  <c:v>34</c:v>
                </c:pt>
                <c:pt idx="23">
                  <c:v>38</c:v>
                </c:pt>
                <c:pt idx="24">
                  <c:v>50</c:v>
                </c:pt>
                <c:pt idx="25">
                  <c:v>57</c:v>
                </c:pt>
                <c:pt idx="26">
                  <c:v>59</c:v>
                </c:pt>
                <c:pt idx="27">
                  <c:v>63</c:v>
                </c:pt>
                <c:pt idx="28">
                  <c:v>86</c:v>
                </c:pt>
                <c:pt idx="29">
                  <c:v>96</c:v>
                </c:pt>
                <c:pt idx="30">
                  <c:v>126</c:v>
                </c:pt>
                <c:pt idx="31">
                  <c:v>221</c:v>
                </c:pt>
                <c:pt idx="32">
                  <c:v>252</c:v>
                </c:pt>
                <c:pt idx="33">
                  <c:v>282</c:v>
                </c:pt>
                <c:pt idx="34">
                  <c:v>372</c:v>
                </c:pt>
                <c:pt idx="35">
                  <c:v>418</c:v>
                </c:pt>
                <c:pt idx="36">
                  <c:v>460</c:v>
                </c:pt>
                <c:pt idx="37">
                  <c:v>544</c:v>
                </c:pt>
                <c:pt idx="38">
                  <c:v>631</c:v>
                </c:pt>
                <c:pt idx="39">
                  <c:v>682</c:v>
                </c:pt>
                <c:pt idx="40">
                  <c:v>707</c:v>
                </c:pt>
                <c:pt idx="41">
                  <c:v>867</c:v>
                </c:pt>
                <c:pt idx="42">
                  <c:v>1022</c:v>
                </c:pt>
                <c:pt idx="43">
                  <c:v>1214</c:v>
                </c:pt>
                <c:pt idx="44">
                  <c:v>1413</c:v>
                </c:pt>
                <c:pt idx="45">
                  <c:v>1624</c:v>
                </c:pt>
                <c:pt idx="46">
                  <c:v>1728</c:v>
                </c:pt>
                <c:pt idx="47">
                  <c:v>1776</c:v>
                </c:pt>
                <c:pt idx="48">
                  <c:v>1968</c:v>
                </c:pt>
                <c:pt idx="49">
                  <c:v>2161</c:v>
                </c:pt>
                <c:pt idx="50">
                  <c:v>2419</c:v>
                </c:pt>
                <c:pt idx="51">
                  <c:v>2654</c:v>
                </c:pt>
                <c:pt idx="52">
                  <c:v>2988</c:v>
                </c:pt>
                <c:pt idx="53">
                  <c:v>3175</c:v>
                </c:pt>
                <c:pt idx="54">
                  <c:v>3265</c:v>
                </c:pt>
                <c:pt idx="55">
                  <c:v>3640</c:v>
                </c:pt>
                <c:pt idx="56">
                  <c:v>4036</c:v>
                </c:pt>
                <c:pt idx="57">
                  <c:v>4170</c:v>
                </c:pt>
                <c:pt idx="58">
                  <c:v>4640</c:v>
                </c:pt>
                <c:pt idx="59">
                  <c:v>4973</c:v>
                </c:pt>
                <c:pt idx="60">
                  <c:v>5157</c:v>
                </c:pt>
                <c:pt idx="61">
                  <c:v>5273</c:v>
                </c:pt>
                <c:pt idx="62">
                  <c:v>5571</c:v>
                </c:pt>
                <c:pt idx="63">
                  <c:v>5802</c:v>
                </c:pt>
                <c:pt idx="64">
                  <c:v>6131</c:v>
                </c:pt>
                <c:pt idx="65">
                  <c:v>6410</c:v>
                </c:pt>
                <c:pt idx="66">
                  <c:v>6650</c:v>
                </c:pt>
                <c:pt idx="67">
                  <c:v>6767</c:v>
                </c:pt>
                <c:pt idx="68">
                  <c:v>6815</c:v>
                </c:pt>
                <c:pt idx="69">
                  <c:v>7012</c:v>
                </c:pt>
                <c:pt idx="70">
                  <c:v>7217</c:v>
                </c:pt>
                <c:pt idx="71">
                  <c:v>7479</c:v>
                </c:pt>
                <c:pt idx="72">
                  <c:v>7709</c:v>
                </c:pt>
                <c:pt idx="73">
                  <c:v>7913</c:v>
                </c:pt>
                <c:pt idx="74">
                  <c:v>7986</c:v>
                </c:pt>
                <c:pt idx="75">
                  <c:v>8016</c:v>
                </c:pt>
                <c:pt idx="76">
                  <c:v>8195</c:v>
                </c:pt>
                <c:pt idx="77">
                  <c:v>8241</c:v>
                </c:pt>
                <c:pt idx="78">
                  <c:v>8403</c:v>
                </c:pt>
                <c:pt idx="79">
                  <c:v>8532</c:v>
                </c:pt>
                <c:pt idx="80">
                  <c:v>8652</c:v>
                </c:pt>
                <c:pt idx="81">
                  <c:v>8688</c:v>
                </c:pt>
                <c:pt idx="82">
                  <c:v>8705</c:v>
                </c:pt>
                <c:pt idx="83">
                  <c:v>8844</c:v>
                </c:pt>
                <c:pt idx="84">
                  <c:v>8951</c:v>
                </c:pt>
                <c:pt idx="85">
                  <c:v>9045</c:v>
                </c:pt>
                <c:pt idx="86">
                  <c:v>9100</c:v>
                </c:pt>
                <c:pt idx="87">
                  <c:v>9180</c:v>
                </c:pt>
                <c:pt idx="88">
                  <c:v>9203</c:v>
                </c:pt>
                <c:pt idx="89">
                  <c:v>9218</c:v>
                </c:pt>
                <c:pt idx="90">
                  <c:v>9323</c:v>
                </c:pt>
                <c:pt idx="91">
                  <c:v>9408</c:v>
                </c:pt>
                <c:pt idx="92">
                  <c:v>9474</c:v>
                </c:pt>
                <c:pt idx="93">
                  <c:v>9532</c:v>
                </c:pt>
                <c:pt idx="94">
                  <c:v>9621</c:v>
                </c:pt>
                <c:pt idx="95">
                  <c:v>9661</c:v>
                </c:pt>
                <c:pt idx="96">
                  <c:v>9686</c:v>
                </c:pt>
                <c:pt idx="97">
                  <c:v>9806</c:v>
                </c:pt>
                <c:pt idx="98">
                  <c:v>9882</c:v>
                </c:pt>
                <c:pt idx="99">
                  <c:v>9945</c:v>
                </c:pt>
                <c:pt idx="100">
                  <c:v>10004</c:v>
                </c:pt>
                <c:pt idx="101">
                  <c:v>10081</c:v>
                </c:pt>
                <c:pt idx="102">
                  <c:v>10102</c:v>
                </c:pt>
                <c:pt idx="103">
                  <c:v>10119</c:v>
                </c:pt>
                <c:pt idx="104">
                  <c:v>10247</c:v>
                </c:pt>
                <c:pt idx="105">
                  <c:v>10318</c:v>
                </c:pt>
                <c:pt idx="106">
                  <c:v>10413</c:v>
                </c:pt>
                <c:pt idx="107">
                  <c:v>10464</c:v>
                </c:pt>
                <c:pt idx="108">
                  <c:v>10547</c:v>
                </c:pt>
                <c:pt idx="109">
                  <c:v>10574</c:v>
                </c:pt>
                <c:pt idx="110">
                  <c:v>10601</c:v>
                </c:pt>
                <c:pt idx="111">
                  <c:v>10759</c:v>
                </c:pt>
                <c:pt idx="112">
                  <c:v>10870</c:v>
                </c:pt>
                <c:pt idx="113">
                  <c:v>10986</c:v>
                </c:pt>
                <c:pt idx="114">
                  <c:v>11014</c:v>
                </c:pt>
                <c:pt idx="115">
                  <c:v>11059</c:v>
                </c:pt>
                <c:pt idx="116">
                  <c:v>11108</c:v>
                </c:pt>
                <c:pt idx="117">
                  <c:v>11154</c:v>
                </c:pt>
                <c:pt idx="118">
                  <c:v>11344</c:v>
                </c:pt>
                <c:pt idx="119">
                  <c:v>11491</c:v>
                </c:pt>
                <c:pt idx="120">
                  <c:v>11602</c:v>
                </c:pt>
                <c:pt idx="121">
                  <c:v>11687</c:v>
                </c:pt>
                <c:pt idx="122">
                  <c:v>11715</c:v>
                </c:pt>
                <c:pt idx="123">
                  <c:v>11774</c:v>
                </c:pt>
                <c:pt idx="124">
                  <c:v>11809</c:v>
                </c:pt>
                <c:pt idx="125">
                  <c:v>12084</c:v>
                </c:pt>
                <c:pt idx="126">
                  <c:v>12227</c:v>
                </c:pt>
                <c:pt idx="127">
                  <c:v>12339</c:v>
                </c:pt>
                <c:pt idx="128">
                  <c:v>12438</c:v>
                </c:pt>
                <c:pt idx="129">
                  <c:v>12560</c:v>
                </c:pt>
                <c:pt idx="130">
                  <c:v>12608</c:v>
                </c:pt>
                <c:pt idx="131">
                  <c:v>12633</c:v>
                </c:pt>
                <c:pt idx="132">
                  <c:v>12863</c:v>
                </c:pt>
                <c:pt idx="133">
                  <c:v>12959</c:v>
                </c:pt>
                <c:pt idx="134">
                  <c:v>13067</c:v>
                </c:pt>
                <c:pt idx="135">
                  <c:v>13120</c:v>
                </c:pt>
                <c:pt idx="136">
                  <c:v>13185</c:v>
                </c:pt>
                <c:pt idx="137">
                  <c:v>13217</c:v>
                </c:pt>
                <c:pt idx="138">
                  <c:v>13243</c:v>
                </c:pt>
                <c:pt idx="139">
                  <c:v>13367</c:v>
                </c:pt>
                <c:pt idx="140">
                  <c:v>13442</c:v>
                </c:pt>
                <c:pt idx="141">
                  <c:v>13513</c:v>
                </c:pt>
                <c:pt idx="142">
                  <c:v>13573</c:v>
                </c:pt>
                <c:pt idx="143">
                  <c:v>13652</c:v>
                </c:pt>
                <c:pt idx="144">
                  <c:v>13678</c:v>
                </c:pt>
                <c:pt idx="145">
                  <c:v>13689</c:v>
                </c:pt>
                <c:pt idx="146">
                  <c:v>13778</c:v>
                </c:pt>
                <c:pt idx="147">
                  <c:v>13854</c:v>
                </c:pt>
                <c:pt idx="148">
                  <c:v>13913</c:v>
                </c:pt>
                <c:pt idx="149">
                  <c:v>13945</c:v>
                </c:pt>
                <c:pt idx="150">
                  <c:v>13991</c:v>
                </c:pt>
                <c:pt idx="151">
                  <c:v>14020</c:v>
                </c:pt>
                <c:pt idx="152">
                  <c:v>14029</c:v>
                </c:pt>
                <c:pt idx="153">
                  <c:v>14108</c:v>
                </c:pt>
                <c:pt idx="154">
                  <c:v>14177</c:v>
                </c:pt>
                <c:pt idx="155">
                  <c:v>14236</c:v>
                </c:pt>
                <c:pt idx="156">
                  <c:v>14278</c:v>
                </c:pt>
                <c:pt idx="157">
                  <c:v>14325</c:v>
                </c:pt>
                <c:pt idx="158">
                  <c:v>14336</c:v>
                </c:pt>
                <c:pt idx="159">
                  <c:v>14353</c:v>
                </c:pt>
                <c:pt idx="160">
                  <c:v>14423</c:v>
                </c:pt>
                <c:pt idx="161">
                  <c:v>14444</c:v>
                </c:pt>
                <c:pt idx="162">
                  <c:v>14477</c:v>
                </c:pt>
                <c:pt idx="163">
                  <c:v>14515</c:v>
                </c:pt>
                <c:pt idx="164">
                  <c:v>14554</c:v>
                </c:pt>
                <c:pt idx="165">
                  <c:v>14569</c:v>
                </c:pt>
                <c:pt idx="166">
                  <c:v>14579</c:v>
                </c:pt>
                <c:pt idx="167">
                  <c:v>14642</c:v>
                </c:pt>
                <c:pt idx="168">
                  <c:v>14675</c:v>
                </c:pt>
                <c:pt idx="169">
                  <c:v>14711</c:v>
                </c:pt>
                <c:pt idx="170">
                  <c:v>14740</c:v>
                </c:pt>
                <c:pt idx="171">
                  <c:v>14775</c:v>
                </c:pt>
                <c:pt idx="172">
                  <c:v>14781</c:v>
                </c:pt>
                <c:pt idx="173">
                  <c:v>14799</c:v>
                </c:pt>
                <c:pt idx="174">
                  <c:v>14873</c:v>
                </c:pt>
                <c:pt idx="175">
                  <c:v>14917</c:v>
                </c:pt>
                <c:pt idx="176">
                  <c:v>14951</c:v>
                </c:pt>
                <c:pt idx="177">
                  <c:v>14983</c:v>
                </c:pt>
                <c:pt idx="178">
                  <c:v>15022</c:v>
                </c:pt>
                <c:pt idx="179">
                  <c:v>15031</c:v>
                </c:pt>
                <c:pt idx="180">
                  <c:v>15040</c:v>
                </c:pt>
                <c:pt idx="181">
                  <c:v>15097</c:v>
                </c:pt>
                <c:pt idx="182">
                  <c:v>15136</c:v>
                </c:pt>
                <c:pt idx="183">
                  <c:v>15192</c:v>
                </c:pt>
                <c:pt idx="184">
                  <c:v>15231</c:v>
                </c:pt>
                <c:pt idx="185">
                  <c:v>15259</c:v>
                </c:pt>
                <c:pt idx="186">
                  <c:v>15273</c:v>
                </c:pt>
                <c:pt idx="187">
                  <c:v>15283</c:v>
                </c:pt>
                <c:pt idx="188">
                  <c:v>15344</c:v>
                </c:pt>
                <c:pt idx="189">
                  <c:v>15381</c:v>
                </c:pt>
                <c:pt idx="190">
                  <c:v>15410</c:v>
                </c:pt>
                <c:pt idx="191">
                  <c:v>15436</c:v>
                </c:pt>
                <c:pt idx="192">
                  <c:v>15454</c:v>
                </c:pt>
                <c:pt idx="193">
                  <c:v>15465</c:v>
                </c:pt>
                <c:pt idx="194">
                  <c:v>15472</c:v>
                </c:pt>
                <c:pt idx="195">
                  <c:v>15507</c:v>
                </c:pt>
                <c:pt idx="196">
                  <c:v>15530</c:v>
                </c:pt>
                <c:pt idx="197">
                  <c:v>15553</c:v>
                </c:pt>
                <c:pt idx="198">
                  <c:v>15569</c:v>
                </c:pt>
                <c:pt idx="199">
                  <c:v>15589</c:v>
                </c:pt>
                <c:pt idx="200">
                  <c:v>15590</c:v>
                </c:pt>
                <c:pt idx="201">
                  <c:v>15594</c:v>
                </c:pt>
                <c:pt idx="202">
                  <c:v>15624</c:v>
                </c:pt>
                <c:pt idx="203">
                  <c:v>15642</c:v>
                </c:pt>
                <c:pt idx="204">
                  <c:v>15652</c:v>
                </c:pt>
                <c:pt idx="205">
                  <c:v>15660</c:v>
                </c:pt>
                <c:pt idx="206">
                  <c:v>15676</c:v>
                </c:pt>
                <c:pt idx="207">
                  <c:v>15679</c:v>
                </c:pt>
                <c:pt idx="208">
                  <c:v>15680</c:v>
                </c:pt>
                <c:pt idx="209">
                  <c:v>15699</c:v>
                </c:pt>
                <c:pt idx="210">
                  <c:v>15713</c:v>
                </c:pt>
                <c:pt idx="211">
                  <c:v>15726</c:v>
                </c:pt>
                <c:pt idx="212">
                  <c:v>15738</c:v>
                </c:pt>
                <c:pt idx="213">
                  <c:v>15741</c:v>
                </c:pt>
                <c:pt idx="214">
                  <c:v>15744</c:v>
                </c:pt>
                <c:pt idx="215">
                  <c:v>15746</c:v>
                </c:pt>
                <c:pt idx="216">
                  <c:v>15751</c:v>
                </c:pt>
                <c:pt idx="217">
                  <c:v>15773</c:v>
                </c:pt>
                <c:pt idx="218">
                  <c:v>15789</c:v>
                </c:pt>
                <c:pt idx="219">
                  <c:v>15805</c:v>
                </c:pt>
                <c:pt idx="220">
                  <c:v>15813</c:v>
                </c:pt>
                <c:pt idx="221">
                  <c:v>15817</c:v>
                </c:pt>
                <c:pt idx="222">
                  <c:v>15818</c:v>
                </c:pt>
                <c:pt idx="223">
                  <c:v>15826</c:v>
                </c:pt>
                <c:pt idx="224">
                  <c:v>15832</c:v>
                </c:pt>
                <c:pt idx="225">
                  <c:v>15836</c:v>
                </c:pt>
                <c:pt idx="226">
                  <c:v>15842</c:v>
                </c:pt>
                <c:pt idx="227">
                  <c:v>15848</c:v>
                </c:pt>
                <c:pt idx="228">
                  <c:v>15849</c:v>
                </c:pt>
                <c:pt idx="229">
                  <c:v>15850</c:v>
                </c:pt>
                <c:pt idx="230">
                  <c:v>15860</c:v>
                </c:pt>
                <c:pt idx="231">
                  <c:v>15863</c:v>
                </c:pt>
                <c:pt idx="232">
                  <c:v>15867</c:v>
                </c:pt>
                <c:pt idx="233">
                  <c:v>15871</c:v>
                </c:pt>
                <c:pt idx="234">
                  <c:v>15874</c:v>
                </c:pt>
                <c:pt idx="235">
                  <c:v>15875</c:v>
                </c:pt>
                <c:pt idx="236">
                  <c:v>15875</c:v>
                </c:pt>
                <c:pt idx="237">
                  <c:v>15882</c:v>
                </c:pt>
                <c:pt idx="238">
                  <c:v>15889</c:v>
                </c:pt>
                <c:pt idx="239">
                  <c:v>15891</c:v>
                </c:pt>
                <c:pt idx="240">
                  <c:v>15893</c:v>
                </c:pt>
                <c:pt idx="241">
                  <c:v>15898</c:v>
                </c:pt>
                <c:pt idx="242">
                  <c:v>15898</c:v>
                </c:pt>
                <c:pt idx="243">
                  <c:v>15899</c:v>
                </c:pt>
                <c:pt idx="244">
                  <c:v>15901</c:v>
                </c:pt>
                <c:pt idx="245">
                  <c:v>15903</c:v>
                </c:pt>
                <c:pt idx="246">
                  <c:v>15904</c:v>
                </c:pt>
                <c:pt idx="247">
                  <c:v>15909</c:v>
                </c:pt>
                <c:pt idx="248">
                  <c:v>15911</c:v>
                </c:pt>
                <c:pt idx="249">
                  <c:v>15912</c:v>
                </c:pt>
                <c:pt idx="250">
                  <c:v>15912</c:v>
                </c:pt>
                <c:pt idx="251">
                  <c:v>15913</c:v>
                </c:pt>
                <c:pt idx="252">
                  <c:v>15917</c:v>
                </c:pt>
                <c:pt idx="253">
                  <c:v>15917</c:v>
                </c:pt>
                <c:pt idx="254">
                  <c:v>15919</c:v>
                </c:pt>
                <c:pt idx="255">
                  <c:v>15920</c:v>
                </c:pt>
                <c:pt idx="256">
                  <c:v>15920</c:v>
                </c:pt>
                <c:pt idx="257">
                  <c:v>15920</c:v>
                </c:pt>
                <c:pt idx="258">
                  <c:v>15925</c:v>
                </c:pt>
                <c:pt idx="259">
                  <c:v>15929</c:v>
                </c:pt>
                <c:pt idx="260">
                  <c:v>15930</c:v>
                </c:pt>
                <c:pt idx="261">
                  <c:v>15933</c:v>
                </c:pt>
                <c:pt idx="262">
                  <c:v>15933</c:v>
                </c:pt>
                <c:pt idx="263">
                  <c:v>15933</c:v>
                </c:pt>
                <c:pt idx="264">
                  <c:v>15933</c:v>
                </c:pt>
                <c:pt idx="265">
                  <c:v>15935</c:v>
                </c:pt>
                <c:pt idx="266">
                  <c:v>15936</c:v>
                </c:pt>
                <c:pt idx="267">
                  <c:v>15937</c:v>
                </c:pt>
                <c:pt idx="268">
                  <c:v>15938</c:v>
                </c:pt>
                <c:pt idx="269">
                  <c:v>15938</c:v>
                </c:pt>
                <c:pt idx="270">
                  <c:v>15938</c:v>
                </c:pt>
                <c:pt idx="271">
                  <c:v>15938</c:v>
                </c:pt>
                <c:pt idx="272">
                  <c:v>15938</c:v>
                </c:pt>
                <c:pt idx="273">
                  <c:v>15938</c:v>
                </c:pt>
                <c:pt idx="274">
                  <c:v>15938</c:v>
                </c:pt>
                <c:pt idx="275">
                  <c:v>15939</c:v>
                </c:pt>
                <c:pt idx="276">
                  <c:v>15939</c:v>
                </c:pt>
                <c:pt idx="277">
                  <c:v>15939</c:v>
                </c:pt>
                <c:pt idx="278">
                  <c:v>15939</c:v>
                </c:pt>
                <c:pt idx="279">
                  <c:v>15939</c:v>
                </c:pt>
                <c:pt idx="280">
                  <c:v>15939</c:v>
                </c:pt>
                <c:pt idx="281">
                  <c:v>15939</c:v>
                </c:pt>
                <c:pt idx="282">
                  <c:v>15939</c:v>
                </c:pt>
                <c:pt idx="283">
                  <c:v>15939</c:v>
                </c:pt>
                <c:pt idx="284">
                  <c:v>15939</c:v>
                </c:pt>
                <c:pt idx="285">
                  <c:v>15939</c:v>
                </c:pt>
                <c:pt idx="286">
                  <c:v>15939</c:v>
                </c:pt>
                <c:pt idx="287">
                  <c:v>15939</c:v>
                </c:pt>
                <c:pt idx="288">
                  <c:v>15939</c:v>
                </c:pt>
                <c:pt idx="289">
                  <c:v>15939</c:v>
                </c:pt>
                <c:pt idx="290">
                  <c:v>15939</c:v>
                </c:pt>
                <c:pt idx="291">
                  <c:v>15939</c:v>
                </c:pt>
                <c:pt idx="292">
                  <c:v>15939</c:v>
                </c:pt>
                <c:pt idx="293">
                  <c:v>15939</c:v>
                </c:pt>
                <c:pt idx="294">
                  <c:v>15939</c:v>
                </c:pt>
                <c:pt idx="295">
                  <c:v>15939</c:v>
                </c:pt>
                <c:pt idx="296">
                  <c:v>15939</c:v>
                </c:pt>
                <c:pt idx="297">
                  <c:v>15939</c:v>
                </c:pt>
                <c:pt idx="298">
                  <c:v>15939</c:v>
                </c:pt>
                <c:pt idx="299">
                  <c:v>15939</c:v>
                </c:pt>
                <c:pt idx="300">
                  <c:v>15939</c:v>
                </c:pt>
                <c:pt idx="301">
                  <c:v>15939</c:v>
                </c:pt>
                <c:pt idx="302">
                  <c:v>15940</c:v>
                </c:pt>
                <c:pt idx="303">
                  <c:v>15940</c:v>
                </c:pt>
                <c:pt idx="304">
                  <c:v>15940</c:v>
                </c:pt>
                <c:pt idx="305">
                  <c:v>15940</c:v>
                </c:pt>
                <c:pt idx="306">
                  <c:v>15940</c:v>
                </c:pt>
                <c:pt idx="307">
                  <c:v>15940</c:v>
                </c:pt>
                <c:pt idx="308">
                  <c:v>15940</c:v>
                </c:pt>
                <c:pt idx="309">
                  <c:v>15940</c:v>
                </c:pt>
                <c:pt idx="310">
                  <c:v>15940</c:v>
                </c:pt>
                <c:pt idx="311">
                  <c:v>15940</c:v>
                </c:pt>
                <c:pt idx="312">
                  <c:v>15940</c:v>
                </c:pt>
                <c:pt idx="313">
                  <c:v>15941</c:v>
                </c:pt>
                <c:pt idx="314">
                  <c:v>15941</c:v>
                </c:pt>
                <c:pt idx="315">
                  <c:v>15941</c:v>
                </c:pt>
                <c:pt idx="316">
                  <c:v>15941</c:v>
                </c:pt>
                <c:pt idx="317">
                  <c:v>15941</c:v>
                </c:pt>
                <c:pt idx="318">
                  <c:v>15941</c:v>
                </c:pt>
                <c:pt idx="319">
                  <c:v>15941</c:v>
                </c:pt>
                <c:pt idx="320">
                  <c:v>15941</c:v>
                </c:pt>
                <c:pt idx="321">
                  <c:v>15941</c:v>
                </c:pt>
                <c:pt idx="322">
                  <c:v>15941</c:v>
                </c:pt>
                <c:pt idx="323">
                  <c:v>15942</c:v>
                </c:pt>
                <c:pt idx="324">
                  <c:v>15942</c:v>
                </c:pt>
                <c:pt idx="325">
                  <c:v>15942</c:v>
                </c:pt>
                <c:pt idx="326">
                  <c:v>15942</c:v>
                </c:pt>
                <c:pt idx="327">
                  <c:v>15942</c:v>
                </c:pt>
                <c:pt idx="328">
                  <c:v>15942</c:v>
                </c:pt>
                <c:pt idx="329">
                  <c:v>15943</c:v>
                </c:pt>
                <c:pt idx="330">
                  <c:v>15945</c:v>
                </c:pt>
                <c:pt idx="331">
                  <c:v>15945</c:v>
                </c:pt>
                <c:pt idx="332">
                  <c:v>15945</c:v>
                </c:pt>
                <c:pt idx="333">
                  <c:v>15945</c:v>
                </c:pt>
                <c:pt idx="334">
                  <c:v>15945</c:v>
                </c:pt>
                <c:pt idx="335">
                  <c:v>15945</c:v>
                </c:pt>
                <c:pt idx="336">
                  <c:v>15945</c:v>
                </c:pt>
                <c:pt idx="337">
                  <c:v>15945</c:v>
                </c:pt>
                <c:pt idx="338">
                  <c:v>15945</c:v>
                </c:pt>
                <c:pt idx="339">
                  <c:v>15945</c:v>
                </c:pt>
                <c:pt idx="340">
                  <c:v>15945</c:v>
                </c:pt>
                <c:pt idx="341">
                  <c:v>15946</c:v>
                </c:pt>
                <c:pt idx="342">
                  <c:v>15946</c:v>
                </c:pt>
                <c:pt idx="343">
                  <c:v>15946</c:v>
                </c:pt>
                <c:pt idx="344">
                  <c:v>15947</c:v>
                </c:pt>
                <c:pt idx="345">
                  <c:v>15947</c:v>
                </c:pt>
                <c:pt idx="346">
                  <c:v>15947</c:v>
                </c:pt>
                <c:pt idx="347">
                  <c:v>15947</c:v>
                </c:pt>
                <c:pt idx="348">
                  <c:v>15947</c:v>
                </c:pt>
                <c:pt idx="349">
                  <c:v>15947</c:v>
                </c:pt>
                <c:pt idx="350">
                  <c:v>15947</c:v>
                </c:pt>
                <c:pt idx="351">
                  <c:v>15947</c:v>
                </c:pt>
                <c:pt idx="352">
                  <c:v>15947</c:v>
                </c:pt>
                <c:pt idx="353">
                  <c:v>15947</c:v>
                </c:pt>
                <c:pt idx="354">
                  <c:v>15947</c:v>
                </c:pt>
                <c:pt idx="355">
                  <c:v>15947</c:v>
                </c:pt>
                <c:pt idx="356">
                  <c:v>15948</c:v>
                </c:pt>
                <c:pt idx="357">
                  <c:v>15948</c:v>
                </c:pt>
                <c:pt idx="358">
                  <c:v>15948</c:v>
                </c:pt>
                <c:pt idx="359">
                  <c:v>15949</c:v>
                </c:pt>
                <c:pt idx="360">
                  <c:v>15950</c:v>
                </c:pt>
                <c:pt idx="361">
                  <c:v>15951</c:v>
                </c:pt>
                <c:pt idx="362">
                  <c:v>15951</c:v>
                </c:pt>
                <c:pt idx="363">
                  <c:v>15951</c:v>
                </c:pt>
                <c:pt idx="364">
                  <c:v>15951</c:v>
                </c:pt>
                <c:pt idx="365">
                  <c:v>15953</c:v>
                </c:pt>
                <c:pt idx="366">
                  <c:v>15954</c:v>
                </c:pt>
                <c:pt idx="367">
                  <c:v>15955</c:v>
                </c:pt>
                <c:pt idx="368">
                  <c:v>15955</c:v>
                </c:pt>
                <c:pt idx="369">
                  <c:v>15955</c:v>
                </c:pt>
                <c:pt idx="370">
                  <c:v>15956</c:v>
                </c:pt>
                <c:pt idx="371">
                  <c:v>15958</c:v>
                </c:pt>
                <c:pt idx="372">
                  <c:v>15959</c:v>
                </c:pt>
                <c:pt idx="373">
                  <c:v>15960</c:v>
                </c:pt>
                <c:pt idx="374">
                  <c:v>15960</c:v>
                </c:pt>
                <c:pt idx="375">
                  <c:v>15960</c:v>
                </c:pt>
                <c:pt idx="376">
                  <c:v>15961</c:v>
                </c:pt>
                <c:pt idx="377">
                  <c:v>15961</c:v>
                </c:pt>
                <c:pt idx="378">
                  <c:v>15962</c:v>
                </c:pt>
                <c:pt idx="379">
                  <c:v>15962</c:v>
                </c:pt>
                <c:pt idx="380">
                  <c:v>15962</c:v>
                </c:pt>
                <c:pt idx="381">
                  <c:v>15962</c:v>
                </c:pt>
                <c:pt idx="382">
                  <c:v>15963</c:v>
                </c:pt>
                <c:pt idx="383">
                  <c:v>15963</c:v>
                </c:pt>
                <c:pt idx="384">
                  <c:v>15967</c:v>
                </c:pt>
                <c:pt idx="385">
                  <c:v>15971</c:v>
                </c:pt>
                <c:pt idx="386">
                  <c:v>15973</c:v>
                </c:pt>
                <c:pt idx="387">
                  <c:v>15973</c:v>
                </c:pt>
                <c:pt idx="388">
                  <c:v>15973</c:v>
                </c:pt>
                <c:pt idx="389">
                  <c:v>15974</c:v>
                </c:pt>
                <c:pt idx="390">
                  <c:v>15975</c:v>
                </c:pt>
                <c:pt idx="391">
                  <c:v>15980</c:v>
                </c:pt>
                <c:pt idx="392">
                  <c:v>15982</c:v>
                </c:pt>
                <c:pt idx="393">
                  <c:v>15989</c:v>
                </c:pt>
                <c:pt idx="394">
                  <c:v>15992</c:v>
                </c:pt>
                <c:pt idx="395">
                  <c:v>15994</c:v>
                </c:pt>
                <c:pt idx="396">
                  <c:v>15994</c:v>
                </c:pt>
                <c:pt idx="397">
                  <c:v>15994</c:v>
                </c:pt>
                <c:pt idx="398">
                  <c:v>15997</c:v>
                </c:pt>
                <c:pt idx="399">
                  <c:v>16002</c:v>
                </c:pt>
                <c:pt idx="400">
                  <c:v>16004</c:v>
                </c:pt>
                <c:pt idx="401">
                  <c:v>16005</c:v>
                </c:pt>
                <c:pt idx="402">
                  <c:v>16007</c:v>
                </c:pt>
                <c:pt idx="403">
                  <c:v>16008</c:v>
                </c:pt>
                <c:pt idx="404">
                  <c:v>16008</c:v>
                </c:pt>
                <c:pt idx="405">
                  <c:v>16010</c:v>
                </c:pt>
                <c:pt idx="406">
                  <c:v>16013</c:v>
                </c:pt>
                <c:pt idx="407">
                  <c:v>16014</c:v>
                </c:pt>
                <c:pt idx="408">
                  <c:v>16017</c:v>
                </c:pt>
                <c:pt idx="409">
                  <c:v>16023</c:v>
                </c:pt>
                <c:pt idx="410">
                  <c:v>16025</c:v>
                </c:pt>
                <c:pt idx="411">
                  <c:v>16026</c:v>
                </c:pt>
                <c:pt idx="412">
                  <c:v>16038</c:v>
                </c:pt>
                <c:pt idx="413">
                  <c:v>16046</c:v>
                </c:pt>
                <c:pt idx="414">
                  <c:v>16055</c:v>
                </c:pt>
                <c:pt idx="415">
                  <c:v>16062</c:v>
                </c:pt>
                <c:pt idx="416">
                  <c:v>16072</c:v>
                </c:pt>
                <c:pt idx="417">
                  <c:v>16072</c:v>
                </c:pt>
                <c:pt idx="418">
                  <c:v>16075</c:v>
                </c:pt>
                <c:pt idx="419">
                  <c:v>16094</c:v>
                </c:pt>
                <c:pt idx="420">
                  <c:v>16099</c:v>
                </c:pt>
                <c:pt idx="421">
                  <c:v>16116</c:v>
                </c:pt>
                <c:pt idx="422">
                  <c:v>16119</c:v>
                </c:pt>
                <c:pt idx="423">
                  <c:v>16127</c:v>
                </c:pt>
                <c:pt idx="424">
                  <c:v>16132</c:v>
                </c:pt>
                <c:pt idx="425">
                  <c:v>16136</c:v>
                </c:pt>
                <c:pt idx="426">
                  <c:v>16177</c:v>
                </c:pt>
                <c:pt idx="427">
                  <c:v>16202</c:v>
                </c:pt>
                <c:pt idx="428">
                  <c:v>16221</c:v>
                </c:pt>
                <c:pt idx="429">
                  <c:v>16245</c:v>
                </c:pt>
                <c:pt idx="430">
                  <c:v>16272</c:v>
                </c:pt>
                <c:pt idx="431">
                  <c:v>16285</c:v>
                </c:pt>
                <c:pt idx="432">
                  <c:v>16290</c:v>
                </c:pt>
                <c:pt idx="433">
                  <c:v>16340</c:v>
                </c:pt>
                <c:pt idx="434">
                  <c:v>16365</c:v>
                </c:pt>
                <c:pt idx="435">
                  <c:v>16394</c:v>
                </c:pt>
                <c:pt idx="436">
                  <c:v>16430</c:v>
                </c:pt>
                <c:pt idx="437">
                  <c:v>16464</c:v>
                </c:pt>
                <c:pt idx="438">
                  <c:v>16484</c:v>
                </c:pt>
                <c:pt idx="439">
                  <c:v>16498</c:v>
                </c:pt>
                <c:pt idx="440">
                  <c:v>16553</c:v>
                </c:pt>
                <c:pt idx="441">
                  <c:v>16586</c:v>
                </c:pt>
                <c:pt idx="442">
                  <c:v>16599</c:v>
                </c:pt>
                <c:pt idx="443">
                  <c:v>16641</c:v>
                </c:pt>
                <c:pt idx="444">
                  <c:v>16693</c:v>
                </c:pt>
                <c:pt idx="445">
                  <c:v>16704</c:v>
                </c:pt>
                <c:pt idx="446">
                  <c:v>16711</c:v>
                </c:pt>
                <c:pt idx="447">
                  <c:v>16779</c:v>
                </c:pt>
                <c:pt idx="448">
                  <c:v>16823</c:v>
                </c:pt>
                <c:pt idx="449">
                  <c:v>16868</c:v>
                </c:pt>
                <c:pt idx="450">
                  <c:v>16916</c:v>
                </c:pt>
                <c:pt idx="451">
                  <c:v>16964</c:v>
                </c:pt>
                <c:pt idx="452">
                  <c:v>16985</c:v>
                </c:pt>
                <c:pt idx="453">
                  <c:v>16993</c:v>
                </c:pt>
                <c:pt idx="454">
                  <c:v>17035</c:v>
                </c:pt>
                <c:pt idx="455">
                  <c:v>17082</c:v>
                </c:pt>
                <c:pt idx="456">
                  <c:v>17122</c:v>
                </c:pt>
                <c:pt idx="457">
                  <c:v>17154</c:v>
                </c:pt>
                <c:pt idx="458">
                  <c:v>17180</c:v>
                </c:pt>
                <c:pt idx="459">
                  <c:v>17200</c:v>
                </c:pt>
                <c:pt idx="460">
                  <c:v>17209</c:v>
                </c:pt>
                <c:pt idx="461">
                  <c:v>17255</c:v>
                </c:pt>
                <c:pt idx="462">
                  <c:v>17288</c:v>
                </c:pt>
                <c:pt idx="463">
                  <c:v>17315</c:v>
                </c:pt>
                <c:pt idx="464">
                  <c:v>17351</c:v>
                </c:pt>
                <c:pt idx="465">
                  <c:v>17373</c:v>
                </c:pt>
                <c:pt idx="466">
                  <c:v>17389</c:v>
                </c:pt>
                <c:pt idx="467">
                  <c:v>17395</c:v>
                </c:pt>
                <c:pt idx="468">
                  <c:v>17413</c:v>
                </c:pt>
                <c:pt idx="469">
                  <c:v>17453</c:v>
                </c:pt>
                <c:pt idx="470">
                  <c:v>17488</c:v>
                </c:pt>
                <c:pt idx="471">
                  <c:v>17509</c:v>
                </c:pt>
                <c:pt idx="472">
                  <c:v>17526</c:v>
                </c:pt>
                <c:pt idx="473">
                  <c:v>17534</c:v>
                </c:pt>
                <c:pt idx="474">
                  <c:v>17543</c:v>
                </c:pt>
                <c:pt idx="475">
                  <c:v>17565</c:v>
                </c:pt>
                <c:pt idx="476">
                  <c:v>17583</c:v>
                </c:pt>
                <c:pt idx="477">
                  <c:v>17589</c:v>
                </c:pt>
                <c:pt idx="478">
                  <c:v>17593</c:v>
                </c:pt>
                <c:pt idx="479">
                  <c:v>17594</c:v>
                </c:pt>
                <c:pt idx="480">
                  <c:v>17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82</c:f>
              <c:numCache>
                <c:formatCode>m/d/yyyy</c:formatCode>
                <c:ptCount val="48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</c:numCache>
            </c:numRef>
          </c:cat>
          <c:val>
            <c:numRef>
              <c:f>List1!$D$2:$D$482</c:f>
              <c:numCache>
                <c:formatCode>General</c:formatCode>
                <c:ptCount val="481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4</c:v>
                </c:pt>
                <c:pt idx="14">
                  <c:v>25</c:v>
                </c:pt>
                <c:pt idx="15">
                  <c:v>27</c:v>
                </c:pt>
                <c:pt idx="16">
                  <c:v>29</c:v>
                </c:pt>
                <c:pt idx="17">
                  <c:v>33</c:v>
                </c:pt>
                <c:pt idx="18">
                  <c:v>35</c:v>
                </c:pt>
                <c:pt idx="19">
                  <c:v>42</c:v>
                </c:pt>
                <c:pt idx="20">
                  <c:v>48</c:v>
                </c:pt>
                <c:pt idx="21">
                  <c:v>52</c:v>
                </c:pt>
                <c:pt idx="22">
                  <c:v>54</c:v>
                </c:pt>
                <c:pt idx="23">
                  <c:v>61</c:v>
                </c:pt>
                <c:pt idx="24">
                  <c:v>74</c:v>
                </c:pt>
                <c:pt idx="25">
                  <c:v>86</c:v>
                </c:pt>
                <c:pt idx="26">
                  <c:v>93</c:v>
                </c:pt>
                <c:pt idx="27">
                  <c:v>100</c:v>
                </c:pt>
                <c:pt idx="28">
                  <c:v>128</c:v>
                </c:pt>
                <c:pt idx="29">
                  <c:v>166</c:v>
                </c:pt>
                <c:pt idx="30">
                  <c:v>227</c:v>
                </c:pt>
                <c:pt idx="31">
                  <c:v>384</c:v>
                </c:pt>
                <c:pt idx="32">
                  <c:v>451</c:v>
                </c:pt>
                <c:pt idx="33">
                  <c:v>535</c:v>
                </c:pt>
                <c:pt idx="34">
                  <c:v>792</c:v>
                </c:pt>
                <c:pt idx="35">
                  <c:v>920</c:v>
                </c:pt>
                <c:pt idx="36">
                  <c:v>1007</c:v>
                </c:pt>
                <c:pt idx="37">
                  <c:v>1169</c:v>
                </c:pt>
                <c:pt idx="38">
                  <c:v>1395</c:v>
                </c:pt>
                <c:pt idx="39">
                  <c:v>1476</c:v>
                </c:pt>
                <c:pt idx="40">
                  <c:v>1512</c:v>
                </c:pt>
                <c:pt idx="41">
                  <c:v>1810</c:v>
                </c:pt>
                <c:pt idx="42">
                  <c:v>2187</c:v>
                </c:pt>
                <c:pt idx="43">
                  <c:v>2560</c:v>
                </c:pt>
                <c:pt idx="44">
                  <c:v>2954</c:v>
                </c:pt>
                <c:pt idx="45">
                  <c:v>3370</c:v>
                </c:pt>
                <c:pt idx="46">
                  <c:v>3629</c:v>
                </c:pt>
                <c:pt idx="47">
                  <c:v>3718</c:v>
                </c:pt>
                <c:pt idx="48">
                  <c:v>4152</c:v>
                </c:pt>
                <c:pt idx="49">
                  <c:v>4545</c:v>
                </c:pt>
                <c:pt idx="50">
                  <c:v>5129</c:v>
                </c:pt>
                <c:pt idx="51">
                  <c:v>5592</c:v>
                </c:pt>
                <c:pt idx="52">
                  <c:v>6342</c:v>
                </c:pt>
                <c:pt idx="53">
                  <c:v>6756</c:v>
                </c:pt>
                <c:pt idx="54">
                  <c:v>7041</c:v>
                </c:pt>
                <c:pt idx="55">
                  <c:v>7803</c:v>
                </c:pt>
                <c:pt idx="56">
                  <c:v>8721</c:v>
                </c:pt>
                <c:pt idx="57">
                  <c:v>9115</c:v>
                </c:pt>
                <c:pt idx="58">
                  <c:v>10123</c:v>
                </c:pt>
                <c:pt idx="59">
                  <c:v>11043</c:v>
                </c:pt>
                <c:pt idx="60">
                  <c:v>11564</c:v>
                </c:pt>
                <c:pt idx="61">
                  <c:v>11892</c:v>
                </c:pt>
                <c:pt idx="62">
                  <c:v>12521</c:v>
                </c:pt>
                <c:pt idx="63">
                  <c:v>13084</c:v>
                </c:pt>
                <c:pt idx="64">
                  <c:v>13837</c:v>
                </c:pt>
                <c:pt idx="65">
                  <c:v>14649</c:v>
                </c:pt>
                <c:pt idx="66">
                  <c:v>15377</c:v>
                </c:pt>
                <c:pt idx="67">
                  <c:v>15708</c:v>
                </c:pt>
                <c:pt idx="68">
                  <c:v>15834</c:v>
                </c:pt>
                <c:pt idx="69">
                  <c:v>16235</c:v>
                </c:pt>
                <c:pt idx="70">
                  <c:v>16825</c:v>
                </c:pt>
                <c:pt idx="71">
                  <c:v>17764</c:v>
                </c:pt>
                <c:pt idx="72">
                  <c:v>18492</c:v>
                </c:pt>
                <c:pt idx="73">
                  <c:v>19177</c:v>
                </c:pt>
                <c:pt idx="74">
                  <c:v>19430</c:v>
                </c:pt>
                <c:pt idx="75">
                  <c:v>19624</c:v>
                </c:pt>
                <c:pt idx="76">
                  <c:v>20185</c:v>
                </c:pt>
                <c:pt idx="77">
                  <c:v>20369</c:v>
                </c:pt>
                <c:pt idx="78">
                  <c:v>20797</c:v>
                </c:pt>
                <c:pt idx="79">
                  <c:v>21195</c:v>
                </c:pt>
                <c:pt idx="80">
                  <c:v>21554</c:v>
                </c:pt>
                <c:pt idx="81">
                  <c:v>21684</c:v>
                </c:pt>
                <c:pt idx="82">
                  <c:v>21792</c:v>
                </c:pt>
                <c:pt idx="83">
                  <c:v>22309</c:v>
                </c:pt>
                <c:pt idx="84">
                  <c:v>22614</c:v>
                </c:pt>
                <c:pt idx="85">
                  <c:v>22833</c:v>
                </c:pt>
                <c:pt idx="86">
                  <c:v>23082</c:v>
                </c:pt>
                <c:pt idx="87">
                  <c:v>23301</c:v>
                </c:pt>
                <c:pt idx="88">
                  <c:v>23402</c:v>
                </c:pt>
                <c:pt idx="89">
                  <c:v>23445</c:v>
                </c:pt>
                <c:pt idx="90">
                  <c:v>23763</c:v>
                </c:pt>
                <c:pt idx="91">
                  <c:v>23971</c:v>
                </c:pt>
                <c:pt idx="92">
                  <c:v>24169</c:v>
                </c:pt>
                <c:pt idx="93">
                  <c:v>24355</c:v>
                </c:pt>
                <c:pt idx="94">
                  <c:v>24586</c:v>
                </c:pt>
                <c:pt idx="95">
                  <c:v>24714</c:v>
                </c:pt>
                <c:pt idx="96">
                  <c:v>24759</c:v>
                </c:pt>
                <c:pt idx="97">
                  <c:v>25021</c:v>
                </c:pt>
                <c:pt idx="98">
                  <c:v>25186</c:v>
                </c:pt>
                <c:pt idx="99">
                  <c:v>25390</c:v>
                </c:pt>
                <c:pt idx="100">
                  <c:v>25532</c:v>
                </c:pt>
                <c:pt idx="101">
                  <c:v>25839</c:v>
                </c:pt>
                <c:pt idx="102">
                  <c:v>25927</c:v>
                </c:pt>
                <c:pt idx="103">
                  <c:v>25993</c:v>
                </c:pt>
                <c:pt idx="104">
                  <c:v>26269</c:v>
                </c:pt>
                <c:pt idx="105">
                  <c:v>26473</c:v>
                </c:pt>
                <c:pt idx="106">
                  <c:v>26668</c:v>
                </c:pt>
                <c:pt idx="107">
                  <c:v>26787</c:v>
                </c:pt>
                <c:pt idx="108">
                  <c:v>27092</c:v>
                </c:pt>
                <c:pt idx="109">
                  <c:v>27180</c:v>
                </c:pt>
                <c:pt idx="110">
                  <c:v>27228</c:v>
                </c:pt>
                <c:pt idx="111">
                  <c:v>27564</c:v>
                </c:pt>
                <c:pt idx="112">
                  <c:v>27851</c:v>
                </c:pt>
                <c:pt idx="113">
                  <c:v>28089</c:v>
                </c:pt>
                <c:pt idx="114">
                  <c:v>28135</c:v>
                </c:pt>
                <c:pt idx="115">
                  <c:v>28251</c:v>
                </c:pt>
                <c:pt idx="116">
                  <c:v>28378</c:v>
                </c:pt>
                <c:pt idx="117">
                  <c:v>28522</c:v>
                </c:pt>
                <c:pt idx="118">
                  <c:v>28877</c:v>
                </c:pt>
                <c:pt idx="119">
                  <c:v>29209</c:v>
                </c:pt>
                <c:pt idx="120">
                  <c:v>29464</c:v>
                </c:pt>
                <c:pt idx="121">
                  <c:v>29682</c:v>
                </c:pt>
                <c:pt idx="122">
                  <c:v>29775</c:v>
                </c:pt>
                <c:pt idx="123">
                  <c:v>29893</c:v>
                </c:pt>
                <c:pt idx="124">
                  <c:v>29969</c:v>
                </c:pt>
                <c:pt idx="125">
                  <c:v>30513</c:v>
                </c:pt>
                <c:pt idx="126">
                  <c:v>30808</c:v>
                </c:pt>
                <c:pt idx="127">
                  <c:v>31080</c:v>
                </c:pt>
                <c:pt idx="128">
                  <c:v>31411</c:v>
                </c:pt>
                <c:pt idx="129">
                  <c:v>31718</c:v>
                </c:pt>
                <c:pt idx="130">
                  <c:v>31827</c:v>
                </c:pt>
                <c:pt idx="131">
                  <c:v>31883</c:v>
                </c:pt>
                <c:pt idx="132">
                  <c:v>32351</c:v>
                </c:pt>
                <c:pt idx="133">
                  <c:v>32573</c:v>
                </c:pt>
                <c:pt idx="134">
                  <c:v>32856</c:v>
                </c:pt>
                <c:pt idx="135">
                  <c:v>33006</c:v>
                </c:pt>
                <c:pt idx="136">
                  <c:v>33157</c:v>
                </c:pt>
                <c:pt idx="137">
                  <c:v>33224</c:v>
                </c:pt>
                <c:pt idx="138">
                  <c:v>33295</c:v>
                </c:pt>
                <c:pt idx="139">
                  <c:v>33580</c:v>
                </c:pt>
                <c:pt idx="140">
                  <c:v>33734</c:v>
                </c:pt>
                <c:pt idx="141">
                  <c:v>33951</c:v>
                </c:pt>
                <c:pt idx="142">
                  <c:v>34117</c:v>
                </c:pt>
                <c:pt idx="143">
                  <c:v>34310</c:v>
                </c:pt>
                <c:pt idx="144">
                  <c:v>34389</c:v>
                </c:pt>
                <c:pt idx="145">
                  <c:v>34425</c:v>
                </c:pt>
                <c:pt idx="146">
                  <c:v>34598</c:v>
                </c:pt>
                <c:pt idx="147">
                  <c:v>34715</c:v>
                </c:pt>
                <c:pt idx="148">
                  <c:v>34869</c:v>
                </c:pt>
                <c:pt idx="149">
                  <c:v>34967</c:v>
                </c:pt>
                <c:pt idx="150">
                  <c:v>35050</c:v>
                </c:pt>
                <c:pt idx="151">
                  <c:v>35128</c:v>
                </c:pt>
                <c:pt idx="152">
                  <c:v>35146</c:v>
                </c:pt>
                <c:pt idx="153">
                  <c:v>35330</c:v>
                </c:pt>
                <c:pt idx="154">
                  <c:v>35493</c:v>
                </c:pt>
                <c:pt idx="155">
                  <c:v>35654</c:v>
                </c:pt>
                <c:pt idx="156">
                  <c:v>35778</c:v>
                </c:pt>
                <c:pt idx="157">
                  <c:v>35909</c:v>
                </c:pt>
                <c:pt idx="158">
                  <c:v>35962</c:v>
                </c:pt>
                <c:pt idx="159">
                  <c:v>35995</c:v>
                </c:pt>
                <c:pt idx="160">
                  <c:v>36130</c:v>
                </c:pt>
                <c:pt idx="161">
                  <c:v>36217</c:v>
                </c:pt>
                <c:pt idx="162">
                  <c:v>36317</c:v>
                </c:pt>
                <c:pt idx="163">
                  <c:v>36420</c:v>
                </c:pt>
                <c:pt idx="164">
                  <c:v>36511</c:v>
                </c:pt>
                <c:pt idx="165">
                  <c:v>36534</c:v>
                </c:pt>
                <c:pt idx="166">
                  <c:v>36557</c:v>
                </c:pt>
                <c:pt idx="167">
                  <c:v>36657</c:v>
                </c:pt>
                <c:pt idx="168">
                  <c:v>36707</c:v>
                </c:pt>
                <c:pt idx="169">
                  <c:v>36773</c:v>
                </c:pt>
                <c:pt idx="170">
                  <c:v>36829</c:v>
                </c:pt>
                <c:pt idx="171">
                  <c:v>36891</c:v>
                </c:pt>
                <c:pt idx="172">
                  <c:v>36915</c:v>
                </c:pt>
                <c:pt idx="173">
                  <c:v>36938</c:v>
                </c:pt>
                <c:pt idx="174">
                  <c:v>37101</c:v>
                </c:pt>
                <c:pt idx="175">
                  <c:v>37180</c:v>
                </c:pt>
                <c:pt idx="176">
                  <c:v>37248</c:v>
                </c:pt>
                <c:pt idx="177">
                  <c:v>37326</c:v>
                </c:pt>
                <c:pt idx="178">
                  <c:v>37411</c:v>
                </c:pt>
                <c:pt idx="179">
                  <c:v>37429</c:v>
                </c:pt>
                <c:pt idx="180">
                  <c:v>37441</c:v>
                </c:pt>
                <c:pt idx="181">
                  <c:v>37576</c:v>
                </c:pt>
                <c:pt idx="182">
                  <c:v>37643</c:v>
                </c:pt>
                <c:pt idx="183">
                  <c:v>37745</c:v>
                </c:pt>
                <c:pt idx="184">
                  <c:v>37793</c:v>
                </c:pt>
                <c:pt idx="185">
                  <c:v>37844</c:v>
                </c:pt>
                <c:pt idx="186">
                  <c:v>37863</c:v>
                </c:pt>
                <c:pt idx="187">
                  <c:v>37878</c:v>
                </c:pt>
                <c:pt idx="188">
                  <c:v>37966</c:v>
                </c:pt>
                <c:pt idx="189">
                  <c:v>38080</c:v>
                </c:pt>
                <c:pt idx="190">
                  <c:v>38164</c:v>
                </c:pt>
                <c:pt idx="191">
                  <c:v>38202</c:v>
                </c:pt>
                <c:pt idx="192">
                  <c:v>38245</c:v>
                </c:pt>
                <c:pt idx="193">
                  <c:v>38265</c:v>
                </c:pt>
                <c:pt idx="194">
                  <c:v>38278</c:v>
                </c:pt>
                <c:pt idx="195">
                  <c:v>38340</c:v>
                </c:pt>
                <c:pt idx="196">
                  <c:v>38383</c:v>
                </c:pt>
                <c:pt idx="197">
                  <c:v>38413</c:v>
                </c:pt>
                <c:pt idx="198">
                  <c:v>38466</c:v>
                </c:pt>
                <c:pt idx="199">
                  <c:v>38504</c:v>
                </c:pt>
                <c:pt idx="200">
                  <c:v>38514</c:v>
                </c:pt>
                <c:pt idx="201">
                  <c:v>38522</c:v>
                </c:pt>
                <c:pt idx="202">
                  <c:v>38566</c:v>
                </c:pt>
                <c:pt idx="203">
                  <c:v>38612</c:v>
                </c:pt>
                <c:pt idx="204">
                  <c:v>38641</c:v>
                </c:pt>
                <c:pt idx="205">
                  <c:v>38680</c:v>
                </c:pt>
                <c:pt idx="206">
                  <c:v>38702</c:v>
                </c:pt>
                <c:pt idx="207">
                  <c:v>38708</c:v>
                </c:pt>
                <c:pt idx="208">
                  <c:v>38713</c:v>
                </c:pt>
                <c:pt idx="209">
                  <c:v>38753</c:v>
                </c:pt>
                <c:pt idx="210">
                  <c:v>38777</c:v>
                </c:pt>
                <c:pt idx="211">
                  <c:v>38799</c:v>
                </c:pt>
                <c:pt idx="212">
                  <c:v>38820</c:v>
                </c:pt>
                <c:pt idx="213">
                  <c:v>38826</c:v>
                </c:pt>
                <c:pt idx="214">
                  <c:v>38832</c:v>
                </c:pt>
                <c:pt idx="215">
                  <c:v>38836</c:v>
                </c:pt>
                <c:pt idx="216">
                  <c:v>38842</c:v>
                </c:pt>
                <c:pt idx="217">
                  <c:v>38869</c:v>
                </c:pt>
                <c:pt idx="218">
                  <c:v>38903</c:v>
                </c:pt>
                <c:pt idx="219">
                  <c:v>38920</c:v>
                </c:pt>
                <c:pt idx="220">
                  <c:v>38931</c:v>
                </c:pt>
                <c:pt idx="221">
                  <c:v>38936</c:v>
                </c:pt>
                <c:pt idx="222">
                  <c:v>38937</c:v>
                </c:pt>
                <c:pt idx="223">
                  <c:v>38946</c:v>
                </c:pt>
                <c:pt idx="224">
                  <c:v>38954</c:v>
                </c:pt>
                <c:pt idx="225">
                  <c:v>38959</c:v>
                </c:pt>
                <c:pt idx="226">
                  <c:v>38968</c:v>
                </c:pt>
                <c:pt idx="227">
                  <c:v>38975</c:v>
                </c:pt>
                <c:pt idx="228">
                  <c:v>38977</c:v>
                </c:pt>
                <c:pt idx="229">
                  <c:v>38979</c:v>
                </c:pt>
                <c:pt idx="230">
                  <c:v>38994</c:v>
                </c:pt>
                <c:pt idx="231">
                  <c:v>39001</c:v>
                </c:pt>
                <c:pt idx="232">
                  <c:v>39008</c:v>
                </c:pt>
                <c:pt idx="233">
                  <c:v>39021</c:v>
                </c:pt>
                <c:pt idx="234">
                  <c:v>39028</c:v>
                </c:pt>
                <c:pt idx="235">
                  <c:v>39030</c:v>
                </c:pt>
                <c:pt idx="236">
                  <c:v>39030</c:v>
                </c:pt>
                <c:pt idx="237">
                  <c:v>39038</c:v>
                </c:pt>
                <c:pt idx="238">
                  <c:v>39048</c:v>
                </c:pt>
                <c:pt idx="239">
                  <c:v>39051</c:v>
                </c:pt>
                <c:pt idx="240">
                  <c:v>39055</c:v>
                </c:pt>
                <c:pt idx="241">
                  <c:v>39061</c:v>
                </c:pt>
                <c:pt idx="242">
                  <c:v>39061</c:v>
                </c:pt>
                <c:pt idx="243">
                  <c:v>39062</c:v>
                </c:pt>
                <c:pt idx="244">
                  <c:v>39064</c:v>
                </c:pt>
                <c:pt idx="245">
                  <c:v>39066</c:v>
                </c:pt>
                <c:pt idx="246">
                  <c:v>39069</c:v>
                </c:pt>
                <c:pt idx="247">
                  <c:v>39074</c:v>
                </c:pt>
                <c:pt idx="248">
                  <c:v>39077</c:v>
                </c:pt>
                <c:pt idx="249">
                  <c:v>39078</c:v>
                </c:pt>
                <c:pt idx="250">
                  <c:v>39081</c:v>
                </c:pt>
                <c:pt idx="251">
                  <c:v>39087</c:v>
                </c:pt>
                <c:pt idx="252">
                  <c:v>39093</c:v>
                </c:pt>
                <c:pt idx="253">
                  <c:v>39093</c:v>
                </c:pt>
                <c:pt idx="254">
                  <c:v>39097</c:v>
                </c:pt>
                <c:pt idx="255">
                  <c:v>39101</c:v>
                </c:pt>
                <c:pt idx="256">
                  <c:v>39102</c:v>
                </c:pt>
                <c:pt idx="257">
                  <c:v>39102</c:v>
                </c:pt>
                <c:pt idx="258">
                  <c:v>39110</c:v>
                </c:pt>
                <c:pt idx="259">
                  <c:v>39114</c:v>
                </c:pt>
                <c:pt idx="260">
                  <c:v>39117</c:v>
                </c:pt>
                <c:pt idx="261">
                  <c:v>39120</c:v>
                </c:pt>
                <c:pt idx="262">
                  <c:v>39120</c:v>
                </c:pt>
                <c:pt idx="263">
                  <c:v>39120</c:v>
                </c:pt>
                <c:pt idx="264">
                  <c:v>39120</c:v>
                </c:pt>
                <c:pt idx="265">
                  <c:v>39124</c:v>
                </c:pt>
                <c:pt idx="266">
                  <c:v>39125</c:v>
                </c:pt>
                <c:pt idx="267">
                  <c:v>39126</c:v>
                </c:pt>
                <c:pt idx="268">
                  <c:v>39127</c:v>
                </c:pt>
                <c:pt idx="269">
                  <c:v>39127</c:v>
                </c:pt>
                <c:pt idx="270">
                  <c:v>39127</c:v>
                </c:pt>
                <c:pt idx="271">
                  <c:v>39127</c:v>
                </c:pt>
                <c:pt idx="272">
                  <c:v>39127</c:v>
                </c:pt>
                <c:pt idx="273">
                  <c:v>39127</c:v>
                </c:pt>
                <c:pt idx="274">
                  <c:v>39130</c:v>
                </c:pt>
                <c:pt idx="275">
                  <c:v>39132</c:v>
                </c:pt>
                <c:pt idx="276">
                  <c:v>39132</c:v>
                </c:pt>
                <c:pt idx="277">
                  <c:v>39132</c:v>
                </c:pt>
                <c:pt idx="278">
                  <c:v>39132</c:v>
                </c:pt>
                <c:pt idx="279">
                  <c:v>39132</c:v>
                </c:pt>
                <c:pt idx="280">
                  <c:v>39132</c:v>
                </c:pt>
                <c:pt idx="281">
                  <c:v>39132</c:v>
                </c:pt>
                <c:pt idx="282">
                  <c:v>39132</c:v>
                </c:pt>
                <c:pt idx="283">
                  <c:v>39133</c:v>
                </c:pt>
                <c:pt idx="284">
                  <c:v>39133</c:v>
                </c:pt>
                <c:pt idx="285">
                  <c:v>39133</c:v>
                </c:pt>
                <c:pt idx="286">
                  <c:v>39133</c:v>
                </c:pt>
                <c:pt idx="287">
                  <c:v>39133</c:v>
                </c:pt>
                <c:pt idx="288">
                  <c:v>39133</c:v>
                </c:pt>
                <c:pt idx="289">
                  <c:v>39134</c:v>
                </c:pt>
                <c:pt idx="290">
                  <c:v>39134</c:v>
                </c:pt>
                <c:pt idx="291">
                  <c:v>39134</c:v>
                </c:pt>
                <c:pt idx="292">
                  <c:v>39134</c:v>
                </c:pt>
                <c:pt idx="293">
                  <c:v>39134</c:v>
                </c:pt>
                <c:pt idx="294">
                  <c:v>39134</c:v>
                </c:pt>
                <c:pt idx="295">
                  <c:v>39135</c:v>
                </c:pt>
                <c:pt idx="296">
                  <c:v>39136</c:v>
                </c:pt>
                <c:pt idx="297">
                  <c:v>39136</c:v>
                </c:pt>
                <c:pt idx="298">
                  <c:v>39136</c:v>
                </c:pt>
                <c:pt idx="299">
                  <c:v>39136</c:v>
                </c:pt>
                <c:pt idx="300">
                  <c:v>39136</c:v>
                </c:pt>
                <c:pt idx="301">
                  <c:v>39136</c:v>
                </c:pt>
                <c:pt idx="302">
                  <c:v>39137</c:v>
                </c:pt>
                <c:pt idx="303">
                  <c:v>39138</c:v>
                </c:pt>
                <c:pt idx="304">
                  <c:v>39138</c:v>
                </c:pt>
                <c:pt idx="305">
                  <c:v>39138</c:v>
                </c:pt>
                <c:pt idx="306">
                  <c:v>39139</c:v>
                </c:pt>
                <c:pt idx="307">
                  <c:v>39139</c:v>
                </c:pt>
                <c:pt idx="308">
                  <c:v>39139</c:v>
                </c:pt>
                <c:pt idx="309">
                  <c:v>39139</c:v>
                </c:pt>
                <c:pt idx="310">
                  <c:v>39140</c:v>
                </c:pt>
                <c:pt idx="311">
                  <c:v>39140</c:v>
                </c:pt>
                <c:pt idx="312">
                  <c:v>39140</c:v>
                </c:pt>
                <c:pt idx="313">
                  <c:v>39141</c:v>
                </c:pt>
                <c:pt idx="314">
                  <c:v>39141</c:v>
                </c:pt>
                <c:pt idx="315">
                  <c:v>39141</c:v>
                </c:pt>
                <c:pt idx="316">
                  <c:v>39141</c:v>
                </c:pt>
                <c:pt idx="317">
                  <c:v>39141</c:v>
                </c:pt>
                <c:pt idx="318">
                  <c:v>39141</c:v>
                </c:pt>
                <c:pt idx="319">
                  <c:v>39141</c:v>
                </c:pt>
                <c:pt idx="320">
                  <c:v>39141</c:v>
                </c:pt>
                <c:pt idx="321">
                  <c:v>39141</c:v>
                </c:pt>
                <c:pt idx="322">
                  <c:v>39141</c:v>
                </c:pt>
                <c:pt idx="323">
                  <c:v>39142</c:v>
                </c:pt>
                <c:pt idx="324">
                  <c:v>39142</c:v>
                </c:pt>
                <c:pt idx="325">
                  <c:v>39142</c:v>
                </c:pt>
                <c:pt idx="326">
                  <c:v>39143</c:v>
                </c:pt>
                <c:pt idx="327">
                  <c:v>39143</c:v>
                </c:pt>
                <c:pt idx="328">
                  <c:v>39143</c:v>
                </c:pt>
                <c:pt idx="329">
                  <c:v>39144</c:v>
                </c:pt>
                <c:pt idx="330">
                  <c:v>39146</c:v>
                </c:pt>
                <c:pt idx="331">
                  <c:v>39146</c:v>
                </c:pt>
                <c:pt idx="332">
                  <c:v>39146</c:v>
                </c:pt>
                <c:pt idx="333">
                  <c:v>39146</c:v>
                </c:pt>
                <c:pt idx="334">
                  <c:v>39146</c:v>
                </c:pt>
                <c:pt idx="335">
                  <c:v>39146</c:v>
                </c:pt>
                <c:pt idx="336">
                  <c:v>39146</c:v>
                </c:pt>
                <c:pt idx="337">
                  <c:v>39146</c:v>
                </c:pt>
                <c:pt idx="338">
                  <c:v>39146</c:v>
                </c:pt>
                <c:pt idx="339">
                  <c:v>39146</c:v>
                </c:pt>
                <c:pt idx="340">
                  <c:v>39146</c:v>
                </c:pt>
                <c:pt idx="341">
                  <c:v>39147</c:v>
                </c:pt>
                <c:pt idx="342">
                  <c:v>39147</c:v>
                </c:pt>
                <c:pt idx="343">
                  <c:v>39147</c:v>
                </c:pt>
                <c:pt idx="344">
                  <c:v>39148</c:v>
                </c:pt>
                <c:pt idx="345">
                  <c:v>39148</c:v>
                </c:pt>
                <c:pt idx="346">
                  <c:v>39148</c:v>
                </c:pt>
                <c:pt idx="347">
                  <c:v>39148</c:v>
                </c:pt>
                <c:pt idx="348">
                  <c:v>39148</c:v>
                </c:pt>
                <c:pt idx="349">
                  <c:v>39149</c:v>
                </c:pt>
                <c:pt idx="350">
                  <c:v>39150</c:v>
                </c:pt>
                <c:pt idx="351">
                  <c:v>39150</c:v>
                </c:pt>
                <c:pt idx="352">
                  <c:v>39151</c:v>
                </c:pt>
                <c:pt idx="353">
                  <c:v>39151</c:v>
                </c:pt>
                <c:pt idx="354">
                  <c:v>39151</c:v>
                </c:pt>
                <c:pt idx="355">
                  <c:v>39151</c:v>
                </c:pt>
                <c:pt idx="356">
                  <c:v>39154</c:v>
                </c:pt>
                <c:pt idx="357">
                  <c:v>39154</c:v>
                </c:pt>
                <c:pt idx="358">
                  <c:v>39154</c:v>
                </c:pt>
                <c:pt idx="359">
                  <c:v>39155</c:v>
                </c:pt>
                <c:pt idx="360">
                  <c:v>39156</c:v>
                </c:pt>
                <c:pt idx="361">
                  <c:v>39157</c:v>
                </c:pt>
                <c:pt idx="362">
                  <c:v>39157</c:v>
                </c:pt>
                <c:pt idx="363">
                  <c:v>39157</c:v>
                </c:pt>
                <c:pt idx="364">
                  <c:v>39157</c:v>
                </c:pt>
                <c:pt idx="365">
                  <c:v>39160</c:v>
                </c:pt>
                <c:pt idx="366">
                  <c:v>39165</c:v>
                </c:pt>
                <c:pt idx="367">
                  <c:v>39168</c:v>
                </c:pt>
                <c:pt idx="368">
                  <c:v>39169</c:v>
                </c:pt>
                <c:pt idx="369">
                  <c:v>39169</c:v>
                </c:pt>
                <c:pt idx="370">
                  <c:v>39174</c:v>
                </c:pt>
                <c:pt idx="371">
                  <c:v>39176</c:v>
                </c:pt>
                <c:pt idx="372">
                  <c:v>39177</c:v>
                </c:pt>
                <c:pt idx="373">
                  <c:v>39179</c:v>
                </c:pt>
                <c:pt idx="374">
                  <c:v>39179</c:v>
                </c:pt>
                <c:pt idx="375">
                  <c:v>39179</c:v>
                </c:pt>
                <c:pt idx="376">
                  <c:v>39180</c:v>
                </c:pt>
                <c:pt idx="377">
                  <c:v>39181</c:v>
                </c:pt>
                <c:pt idx="378">
                  <c:v>39182</c:v>
                </c:pt>
                <c:pt idx="379">
                  <c:v>39182</c:v>
                </c:pt>
                <c:pt idx="380">
                  <c:v>39182</c:v>
                </c:pt>
                <c:pt idx="381">
                  <c:v>39182</c:v>
                </c:pt>
                <c:pt idx="382">
                  <c:v>39183</c:v>
                </c:pt>
                <c:pt idx="383">
                  <c:v>39183</c:v>
                </c:pt>
                <c:pt idx="384">
                  <c:v>39188</c:v>
                </c:pt>
                <c:pt idx="385">
                  <c:v>39196</c:v>
                </c:pt>
                <c:pt idx="386">
                  <c:v>39199</c:v>
                </c:pt>
                <c:pt idx="387">
                  <c:v>39199</c:v>
                </c:pt>
                <c:pt idx="388">
                  <c:v>39199</c:v>
                </c:pt>
                <c:pt idx="389">
                  <c:v>39200</c:v>
                </c:pt>
                <c:pt idx="390">
                  <c:v>39201</c:v>
                </c:pt>
                <c:pt idx="391">
                  <c:v>39208</c:v>
                </c:pt>
                <c:pt idx="392">
                  <c:v>39210</c:v>
                </c:pt>
                <c:pt idx="393">
                  <c:v>39218</c:v>
                </c:pt>
                <c:pt idx="394">
                  <c:v>39221</c:v>
                </c:pt>
                <c:pt idx="395">
                  <c:v>39224</c:v>
                </c:pt>
                <c:pt idx="396">
                  <c:v>39225</c:v>
                </c:pt>
                <c:pt idx="397">
                  <c:v>39226</c:v>
                </c:pt>
                <c:pt idx="398">
                  <c:v>39231</c:v>
                </c:pt>
                <c:pt idx="399">
                  <c:v>39238</c:v>
                </c:pt>
                <c:pt idx="400">
                  <c:v>39251</c:v>
                </c:pt>
                <c:pt idx="401">
                  <c:v>39254</c:v>
                </c:pt>
                <c:pt idx="402">
                  <c:v>39281</c:v>
                </c:pt>
                <c:pt idx="403">
                  <c:v>39283</c:v>
                </c:pt>
                <c:pt idx="404">
                  <c:v>39283</c:v>
                </c:pt>
                <c:pt idx="405">
                  <c:v>39286</c:v>
                </c:pt>
                <c:pt idx="406">
                  <c:v>39289</c:v>
                </c:pt>
                <c:pt idx="407">
                  <c:v>39310</c:v>
                </c:pt>
                <c:pt idx="408">
                  <c:v>39316</c:v>
                </c:pt>
                <c:pt idx="409">
                  <c:v>39324</c:v>
                </c:pt>
                <c:pt idx="410">
                  <c:v>39326</c:v>
                </c:pt>
                <c:pt idx="411">
                  <c:v>39327</c:v>
                </c:pt>
                <c:pt idx="412">
                  <c:v>39345</c:v>
                </c:pt>
                <c:pt idx="413">
                  <c:v>39357</c:v>
                </c:pt>
                <c:pt idx="414">
                  <c:v>39370</c:v>
                </c:pt>
                <c:pt idx="415">
                  <c:v>39379</c:v>
                </c:pt>
                <c:pt idx="416">
                  <c:v>39394</c:v>
                </c:pt>
                <c:pt idx="417">
                  <c:v>39395</c:v>
                </c:pt>
                <c:pt idx="418">
                  <c:v>39399</c:v>
                </c:pt>
                <c:pt idx="419">
                  <c:v>39432</c:v>
                </c:pt>
                <c:pt idx="420">
                  <c:v>39446</c:v>
                </c:pt>
                <c:pt idx="421">
                  <c:v>39474</c:v>
                </c:pt>
                <c:pt idx="422">
                  <c:v>39477</c:v>
                </c:pt>
                <c:pt idx="423">
                  <c:v>39503</c:v>
                </c:pt>
                <c:pt idx="424">
                  <c:v>39515</c:v>
                </c:pt>
                <c:pt idx="425">
                  <c:v>39530</c:v>
                </c:pt>
                <c:pt idx="426">
                  <c:v>39606</c:v>
                </c:pt>
                <c:pt idx="427">
                  <c:v>39644</c:v>
                </c:pt>
                <c:pt idx="428">
                  <c:v>39679</c:v>
                </c:pt>
                <c:pt idx="429">
                  <c:v>39755</c:v>
                </c:pt>
                <c:pt idx="430">
                  <c:v>39805</c:v>
                </c:pt>
                <c:pt idx="431">
                  <c:v>39824</c:v>
                </c:pt>
                <c:pt idx="432">
                  <c:v>39834</c:v>
                </c:pt>
                <c:pt idx="433">
                  <c:v>39913</c:v>
                </c:pt>
                <c:pt idx="434">
                  <c:v>39967</c:v>
                </c:pt>
                <c:pt idx="435">
                  <c:v>40011</c:v>
                </c:pt>
                <c:pt idx="436">
                  <c:v>40065</c:v>
                </c:pt>
                <c:pt idx="437">
                  <c:v>40116</c:v>
                </c:pt>
                <c:pt idx="438">
                  <c:v>40149</c:v>
                </c:pt>
                <c:pt idx="439">
                  <c:v>40177</c:v>
                </c:pt>
                <c:pt idx="440">
                  <c:v>40275</c:v>
                </c:pt>
                <c:pt idx="441">
                  <c:v>40340</c:v>
                </c:pt>
                <c:pt idx="442">
                  <c:v>40376</c:v>
                </c:pt>
                <c:pt idx="443">
                  <c:v>40473</c:v>
                </c:pt>
                <c:pt idx="444">
                  <c:v>40609</c:v>
                </c:pt>
                <c:pt idx="445">
                  <c:v>40646</c:v>
                </c:pt>
                <c:pt idx="446">
                  <c:v>40662</c:v>
                </c:pt>
                <c:pt idx="447">
                  <c:v>40778</c:v>
                </c:pt>
                <c:pt idx="448">
                  <c:v>40845</c:v>
                </c:pt>
                <c:pt idx="449">
                  <c:v>40931</c:v>
                </c:pt>
                <c:pt idx="450">
                  <c:v>41009</c:v>
                </c:pt>
                <c:pt idx="451">
                  <c:v>41109</c:v>
                </c:pt>
                <c:pt idx="452">
                  <c:v>41135</c:v>
                </c:pt>
                <c:pt idx="453">
                  <c:v>41150</c:v>
                </c:pt>
                <c:pt idx="454">
                  <c:v>41230</c:v>
                </c:pt>
                <c:pt idx="455">
                  <c:v>41290</c:v>
                </c:pt>
                <c:pt idx="456">
                  <c:v>41360</c:v>
                </c:pt>
                <c:pt idx="457">
                  <c:v>41420</c:v>
                </c:pt>
                <c:pt idx="458">
                  <c:v>41460</c:v>
                </c:pt>
                <c:pt idx="459">
                  <c:v>41518</c:v>
                </c:pt>
                <c:pt idx="460">
                  <c:v>41532</c:v>
                </c:pt>
                <c:pt idx="461">
                  <c:v>41604</c:v>
                </c:pt>
                <c:pt idx="462">
                  <c:v>41659</c:v>
                </c:pt>
                <c:pt idx="463">
                  <c:v>41698</c:v>
                </c:pt>
                <c:pt idx="464">
                  <c:v>41764</c:v>
                </c:pt>
                <c:pt idx="465">
                  <c:v>41812</c:v>
                </c:pt>
                <c:pt idx="466">
                  <c:v>41833</c:v>
                </c:pt>
                <c:pt idx="467">
                  <c:v>41840</c:v>
                </c:pt>
                <c:pt idx="468">
                  <c:v>41868</c:v>
                </c:pt>
                <c:pt idx="469">
                  <c:v>41934</c:v>
                </c:pt>
                <c:pt idx="470">
                  <c:v>41982</c:v>
                </c:pt>
                <c:pt idx="471">
                  <c:v>42017</c:v>
                </c:pt>
                <c:pt idx="472">
                  <c:v>42055</c:v>
                </c:pt>
                <c:pt idx="473">
                  <c:v>42065</c:v>
                </c:pt>
                <c:pt idx="474">
                  <c:v>42075</c:v>
                </c:pt>
                <c:pt idx="475">
                  <c:v>42106</c:v>
                </c:pt>
                <c:pt idx="476">
                  <c:v>42135</c:v>
                </c:pt>
                <c:pt idx="477">
                  <c:v>42143</c:v>
                </c:pt>
                <c:pt idx="478">
                  <c:v>42152</c:v>
                </c:pt>
                <c:pt idx="479">
                  <c:v>42154</c:v>
                </c:pt>
                <c:pt idx="480">
                  <c:v>42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List1!$B$2:$B$476</c:f>
              <c:numCache>
                <c:formatCode>General</c:formatCode>
                <c:ptCount val="475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3</c:v>
                </c:pt>
                <c:pt idx="38">
                  <c:v>675</c:v>
                </c:pt>
                <c:pt idx="39">
                  <c:v>695</c:v>
                </c:pt>
                <c:pt idx="40">
                  <c:v>662</c:v>
                </c:pt>
                <c:pt idx="41">
                  <c:v>775</c:v>
                </c:pt>
                <c:pt idx="42">
                  <c:v>945</c:v>
                </c:pt>
                <c:pt idx="43">
                  <c:v>1075</c:v>
                </c:pt>
                <c:pt idx="44">
                  <c:v>1245</c:v>
                </c:pt>
                <c:pt idx="45">
                  <c:v>1373</c:v>
                </c:pt>
                <c:pt idx="46">
                  <c:v>1449</c:v>
                </c:pt>
                <c:pt idx="47">
                  <c:v>1403</c:v>
                </c:pt>
                <c:pt idx="48">
                  <c:v>1573</c:v>
                </c:pt>
                <c:pt idx="49">
                  <c:v>1686</c:v>
                </c:pt>
                <c:pt idx="50">
                  <c:v>1964</c:v>
                </c:pt>
                <c:pt idx="51">
                  <c:v>2121</c:v>
                </c:pt>
                <c:pt idx="52">
                  <c:v>2407</c:v>
                </c:pt>
                <c:pt idx="53">
                  <c:v>2489</c:v>
                </c:pt>
                <c:pt idx="54">
                  <c:v>2532</c:v>
                </c:pt>
                <c:pt idx="55">
                  <c:v>2713</c:v>
                </c:pt>
                <c:pt idx="56">
                  <c:v>3042</c:v>
                </c:pt>
                <c:pt idx="57">
                  <c:v>3067</c:v>
                </c:pt>
                <c:pt idx="58">
                  <c:v>3506</c:v>
                </c:pt>
                <c:pt idx="59">
                  <c:v>3803</c:v>
                </c:pt>
                <c:pt idx="60">
                  <c:v>3891</c:v>
                </c:pt>
                <c:pt idx="61">
                  <c:v>3785</c:v>
                </c:pt>
                <c:pt idx="62">
                  <c:v>3847</c:v>
                </c:pt>
                <c:pt idx="63">
                  <c:v>3775</c:v>
                </c:pt>
                <c:pt idx="64">
                  <c:v>3986</c:v>
                </c:pt>
                <c:pt idx="65">
                  <c:v>4315</c:v>
                </c:pt>
                <c:pt idx="66">
                  <c:v>4173</c:v>
                </c:pt>
                <c:pt idx="67">
                  <c:v>3824</c:v>
                </c:pt>
                <c:pt idx="68">
                  <c:v>3742</c:v>
                </c:pt>
                <c:pt idx="69">
                  <c:v>3497</c:v>
                </c:pt>
                <c:pt idx="70">
                  <c:v>3377</c:v>
                </c:pt>
                <c:pt idx="71">
                  <c:v>3796</c:v>
                </c:pt>
                <c:pt idx="72">
                  <c:v>4176</c:v>
                </c:pt>
                <c:pt idx="73">
                  <c:v>4224</c:v>
                </c:pt>
                <c:pt idx="74">
                  <c:v>3883</c:v>
                </c:pt>
                <c:pt idx="75">
                  <c:v>3769</c:v>
                </c:pt>
                <c:pt idx="76">
                  <c:v>3782</c:v>
                </c:pt>
                <c:pt idx="77">
                  <c:v>3566</c:v>
                </c:pt>
                <c:pt idx="78">
                  <c:v>3754</c:v>
                </c:pt>
                <c:pt idx="79">
                  <c:v>3904</c:v>
                </c:pt>
                <c:pt idx="80">
                  <c:v>3961</c:v>
                </c:pt>
                <c:pt idx="81">
                  <c:v>3581</c:v>
                </c:pt>
                <c:pt idx="82">
                  <c:v>3306</c:v>
                </c:pt>
                <c:pt idx="83">
                  <c:v>3430</c:v>
                </c:pt>
                <c:pt idx="84">
                  <c:v>3145</c:v>
                </c:pt>
                <c:pt idx="85">
                  <c:v>3139</c:v>
                </c:pt>
                <c:pt idx="86">
                  <c:v>3232</c:v>
                </c:pt>
                <c:pt idx="87">
                  <c:v>2996</c:v>
                </c:pt>
                <c:pt idx="88">
                  <c:v>2964</c:v>
                </c:pt>
                <c:pt idx="89">
                  <c:v>2706</c:v>
                </c:pt>
                <c:pt idx="90">
                  <c:v>2608</c:v>
                </c:pt>
                <c:pt idx="91">
                  <c:v>2422</c:v>
                </c:pt>
                <c:pt idx="92">
                  <c:v>2454</c:v>
                </c:pt>
                <c:pt idx="93">
                  <c:v>2511</c:v>
                </c:pt>
                <c:pt idx="94">
                  <c:v>2401</c:v>
                </c:pt>
                <c:pt idx="95">
                  <c:v>2234</c:v>
                </c:pt>
                <c:pt idx="96">
                  <c:v>2080</c:v>
                </c:pt>
                <c:pt idx="97">
                  <c:v>2032</c:v>
                </c:pt>
                <c:pt idx="98">
                  <c:v>1886</c:v>
                </c:pt>
                <c:pt idx="99">
                  <c:v>1941</c:v>
                </c:pt>
                <c:pt idx="100">
                  <c:v>1991</c:v>
                </c:pt>
                <c:pt idx="101">
                  <c:v>1979</c:v>
                </c:pt>
                <c:pt idx="102">
                  <c:v>1886</c:v>
                </c:pt>
                <c:pt idx="103">
                  <c:v>1839</c:v>
                </c:pt>
                <c:pt idx="104">
                  <c:v>1848</c:v>
                </c:pt>
                <c:pt idx="105">
                  <c:v>1829</c:v>
                </c:pt>
                <c:pt idx="106">
                  <c:v>1830</c:v>
                </c:pt>
                <c:pt idx="107">
                  <c:v>1835</c:v>
                </c:pt>
                <c:pt idx="108">
                  <c:v>1885</c:v>
                </c:pt>
                <c:pt idx="109">
                  <c:v>1756</c:v>
                </c:pt>
                <c:pt idx="110">
                  <c:v>1689</c:v>
                </c:pt>
                <c:pt idx="111">
                  <c:v>1738</c:v>
                </c:pt>
                <c:pt idx="112">
                  <c:v>1751</c:v>
                </c:pt>
                <c:pt idx="113">
                  <c:v>1774</c:v>
                </c:pt>
                <c:pt idx="114">
                  <c:v>1740</c:v>
                </c:pt>
                <c:pt idx="115">
                  <c:v>1639</c:v>
                </c:pt>
                <c:pt idx="116">
                  <c:v>1614</c:v>
                </c:pt>
                <c:pt idx="117">
                  <c:v>1614</c:v>
                </c:pt>
                <c:pt idx="118">
                  <c:v>1659</c:v>
                </c:pt>
                <c:pt idx="119">
                  <c:v>1706</c:v>
                </c:pt>
                <c:pt idx="120">
                  <c:v>1804</c:v>
                </c:pt>
                <c:pt idx="121">
                  <c:v>1886</c:v>
                </c:pt>
                <c:pt idx="122">
                  <c:v>1752</c:v>
                </c:pt>
                <c:pt idx="123">
                  <c:v>1718</c:v>
                </c:pt>
                <c:pt idx="124">
                  <c:v>1552</c:v>
                </c:pt>
                <c:pt idx="125">
                  <c:v>1784</c:v>
                </c:pt>
                <c:pt idx="126">
                  <c:v>1872</c:v>
                </c:pt>
                <c:pt idx="127">
                  <c:v>1960</c:v>
                </c:pt>
                <c:pt idx="128">
                  <c:v>2102</c:v>
                </c:pt>
                <c:pt idx="129">
                  <c:v>2104</c:v>
                </c:pt>
                <c:pt idx="130">
                  <c:v>1971</c:v>
                </c:pt>
                <c:pt idx="131">
                  <c:v>1825</c:v>
                </c:pt>
                <c:pt idx="132">
                  <c:v>1966</c:v>
                </c:pt>
                <c:pt idx="133">
                  <c:v>2030</c:v>
                </c:pt>
                <c:pt idx="134">
                  <c:v>2134</c:v>
                </c:pt>
                <c:pt idx="135">
                  <c:v>2181</c:v>
                </c:pt>
                <c:pt idx="136">
                  <c:v>2097</c:v>
                </c:pt>
                <c:pt idx="137">
                  <c:v>1902</c:v>
                </c:pt>
                <c:pt idx="138">
                  <c:v>1746</c:v>
                </c:pt>
                <c:pt idx="139">
                  <c:v>1686</c:v>
                </c:pt>
                <c:pt idx="140">
                  <c:v>1572</c:v>
                </c:pt>
                <c:pt idx="141">
                  <c:v>1657</c:v>
                </c:pt>
                <c:pt idx="142">
                  <c:v>1727</c:v>
                </c:pt>
                <c:pt idx="143">
                  <c:v>1597</c:v>
                </c:pt>
                <c:pt idx="144">
                  <c:v>1531</c:v>
                </c:pt>
                <c:pt idx="145">
                  <c:v>1431</c:v>
                </c:pt>
                <c:pt idx="146">
                  <c:v>1391</c:v>
                </c:pt>
                <c:pt idx="147">
                  <c:v>1337</c:v>
                </c:pt>
                <c:pt idx="148">
                  <c:v>1389</c:v>
                </c:pt>
                <c:pt idx="149">
                  <c:v>1425</c:v>
                </c:pt>
                <c:pt idx="150">
                  <c:v>1283</c:v>
                </c:pt>
                <c:pt idx="151">
                  <c:v>1241</c:v>
                </c:pt>
                <c:pt idx="152">
                  <c:v>1104</c:v>
                </c:pt>
                <c:pt idx="153">
                  <c:v>1131</c:v>
                </c:pt>
                <c:pt idx="154">
                  <c:v>1154</c:v>
                </c:pt>
                <c:pt idx="155">
                  <c:v>1209</c:v>
                </c:pt>
                <c:pt idx="156">
                  <c:v>1237</c:v>
                </c:pt>
                <c:pt idx="157">
                  <c:v>1209</c:v>
                </c:pt>
                <c:pt idx="158">
                  <c:v>1147</c:v>
                </c:pt>
                <c:pt idx="159">
                  <c:v>1093</c:v>
                </c:pt>
                <c:pt idx="160">
                  <c:v>1108</c:v>
                </c:pt>
                <c:pt idx="161">
                  <c:v>1102</c:v>
                </c:pt>
                <c:pt idx="162">
                  <c:v>1141</c:v>
                </c:pt>
                <c:pt idx="163">
                  <c:v>1187</c:v>
                </c:pt>
                <c:pt idx="164">
                  <c:v>1152</c:v>
                </c:pt>
                <c:pt idx="165">
                  <c:v>1031</c:v>
                </c:pt>
                <c:pt idx="166">
                  <c:v>939</c:v>
                </c:pt>
                <c:pt idx="167">
                  <c:v>918</c:v>
                </c:pt>
                <c:pt idx="168">
                  <c:v>833</c:v>
                </c:pt>
                <c:pt idx="169">
                  <c:v>812</c:v>
                </c:pt>
                <c:pt idx="170">
                  <c:v>826</c:v>
                </c:pt>
                <c:pt idx="171">
                  <c:v>767</c:v>
                </c:pt>
                <c:pt idx="172">
                  <c:v>706</c:v>
                </c:pt>
                <c:pt idx="173">
                  <c:v>634</c:v>
                </c:pt>
                <c:pt idx="174">
                  <c:v>677</c:v>
                </c:pt>
                <c:pt idx="175">
                  <c:v>651</c:v>
                </c:pt>
                <c:pt idx="176">
                  <c:v>662</c:v>
                </c:pt>
                <c:pt idx="177">
                  <c:v>692</c:v>
                </c:pt>
                <c:pt idx="178">
                  <c:v>680</c:v>
                </c:pt>
                <c:pt idx="179">
                  <c:v>648</c:v>
                </c:pt>
                <c:pt idx="180">
                  <c:v>629</c:v>
                </c:pt>
                <c:pt idx="181">
                  <c:v>677</c:v>
                </c:pt>
                <c:pt idx="182">
                  <c:v>643</c:v>
                </c:pt>
                <c:pt idx="183">
                  <c:v>650</c:v>
                </c:pt>
                <c:pt idx="184">
                  <c:v>642</c:v>
                </c:pt>
                <c:pt idx="185">
                  <c:v>576</c:v>
                </c:pt>
                <c:pt idx="186">
                  <c:v>547</c:v>
                </c:pt>
                <c:pt idx="187">
                  <c:v>503</c:v>
                </c:pt>
                <c:pt idx="188">
                  <c:v>498</c:v>
                </c:pt>
                <c:pt idx="189">
                  <c:v>519</c:v>
                </c:pt>
                <c:pt idx="190">
                  <c:v>560</c:v>
                </c:pt>
                <c:pt idx="191">
                  <c:v>559</c:v>
                </c:pt>
                <c:pt idx="192">
                  <c:v>580</c:v>
                </c:pt>
                <c:pt idx="193">
                  <c:v>577</c:v>
                </c:pt>
                <c:pt idx="194">
                  <c:v>577</c:v>
                </c:pt>
                <c:pt idx="195">
                  <c:v>599</c:v>
                </c:pt>
                <c:pt idx="196">
                  <c:v>535</c:v>
                </c:pt>
                <c:pt idx="197">
                  <c:v>514</c:v>
                </c:pt>
                <c:pt idx="198">
                  <c:v>501</c:v>
                </c:pt>
                <c:pt idx="199">
                  <c:v>501</c:v>
                </c:pt>
                <c:pt idx="200">
                  <c:v>481</c:v>
                </c:pt>
                <c:pt idx="201">
                  <c:v>480</c:v>
                </c:pt>
                <c:pt idx="202">
                  <c:v>486</c:v>
                </c:pt>
                <c:pt idx="203">
                  <c:v>486</c:v>
                </c:pt>
                <c:pt idx="204">
                  <c:v>452</c:v>
                </c:pt>
                <c:pt idx="205">
                  <c:v>448</c:v>
                </c:pt>
                <c:pt idx="206">
                  <c:v>430</c:v>
                </c:pt>
                <c:pt idx="207">
                  <c:v>396</c:v>
                </c:pt>
                <c:pt idx="208">
                  <c:v>395</c:v>
                </c:pt>
                <c:pt idx="209">
                  <c:v>407</c:v>
                </c:pt>
                <c:pt idx="210">
                  <c:v>375</c:v>
                </c:pt>
                <c:pt idx="211">
                  <c:v>366</c:v>
                </c:pt>
                <c:pt idx="212">
                  <c:v>351</c:v>
                </c:pt>
                <c:pt idx="213">
                  <c:v>322</c:v>
                </c:pt>
                <c:pt idx="214">
                  <c:v>312</c:v>
                </c:pt>
                <c:pt idx="215">
                  <c:v>311</c:v>
                </c:pt>
                <c:pt idx="216">
                  <c:v>309</c:v>
                </c:pt>
                <c:pt idx="217">
                  <c:v>279</c:v>
                </c:pt>
                <c:pt idx="218">
                  <c:v>276</c:v>
                </c:pt>
                <c:pt idx="219">
                  <c:v>261</c:v>
                </c:pt>
                <c:pt idx="220">
                  <c:v>232</c:v>
                </c:pt>
                <c:pt idx="221">
                  <c:v>227</c:v>
                </c:pt>
                <c:pt idx="222">
                  <c:v>226</c:v>
                </c:pt>
                <c:pt idx="223">
                  <c:v>226</c:v>
                </c:pt>
                <c:pt idx="224">
                  <c:v>215</c:v>
                </c:pt>
                <c:pt idx="225">
                  <c:v>193</c:v>
                </c:pt>
                <c:pt idx="226">
                  <c:v>183</c:v>
                </c:pt>
                <c:pt idx="227">
                  <c:v>169</c:v>
                </c:pt>
                <c:pt idx="228">
                  <c:v>167</c:v>
                </c:pt>
                <c:pt idx="229">
                  <c:v>168</c:v>
                </c:pt>
                <c:pt idx="230">
                  <c:v>172</c:v>
                </c:pt>
                <c:pt idx="231">
                  <c:v>166</c:v>
                </c:pt>
                <c:pt idx="232">
                  <c:v>159</c:v>
                </c:pt>
                <c:pt idx="233">
                  <c:v>158</c:v>
                </c:pt>
                <c:pt idx="234">
                  <c:v>160</c:v>
                </c:pt>
                <c:pt idx="235">
                  <c:v>154</c:v>
                </c:pt>
                <c:pt idx="236">
                  <c:v>153</c:v>
                </c:pt>
                <c:pt idx="237">
                  <c:v>153</c:v>
                </c:pt>
                <c:pt idx="238">
                  <c:v>152</c:v>
                </c:pt>
                <c:pt idx="239">
                  <c:v>151</c:v>
                </c:pt>
                <c:pt idx="240">
                  <c:v>150</c:v>
                </c:pt>
                <c:pt idx="241">
                  <c:v>150</c:v>
                </c:pt>
                <c:pt idx="242">
                  <c:v>144</c:v>
                </c:pt>
                <c:pt idx="243">
                  <c:v>144</c:v>
                </c:pt>
                <c:pt idx="244">
                  <c:v>144</c:v>
                </c:pt>
                <c:pt idx="245">
                  <c:v>141</c:v>
                </c:pt>
                <c:pt idx="246">
                  <c:v>137</c:v>
                </c:pt>
                <c:pt idx="247">
                  <c:v>131</c:v>
                </c:pt>
                <c:pt idx="248">
                  <c:v>130</c:v>
                </c:pt>
                <c:pt idx="249">
                  <c:v>124</c:v>
                </c:pt>
                <c:pt idx="250">
                  <c:v>127</c:v>
                </c:pt>
                <c:pt idx="251">
                  <c:v>131</c:v>
                </c:pt>
                <c:pt idx="252">
                  <c:v>131</c:v>
                </c:pt>
                <c:pt idx="253">
                  <c:v>128</c:v>
                </c:pt>
                <c:pt idx="254">
                  <c:v>127</c:v>
                </c:pt>
                <c:pt idx="255">
                  <c:v>126</c:v>
                </c:pt>
                <c:pt idx="256">
                  <c:v>124</c:v>
                </c:pt>
                <c:pt idx="257">
                  <c:v>123</c:v>
                </c:pt>
                <c:pt idx="258">
                  <c:v>125</c:v>
                </c:pt>
                <c:pt idx="259">
                  <c:v>121</c:v>
                </c:pt>
                <c:pt idx="260">
                  <c:v>123</c:v>
                </c:pt>
                <c:pt idx="261">
                  <c:v>120</c:v>
                </c:pt>
                <c:pt idx="262">
                  <c:v>120</c:v>
                </c:pt>
                <c:pt idx="263">
                  <c:v>119</c:v>
                </c:pt>
                <c:pt idx="264">
                  <c:v>118</c:v>
                </c:pt>
                <c:pt idx="265">
                  <c:v>119</c:v>
                </c:pt>
                <c:pt idx="266">
                  <c:v>118</c:v>
                </c:pt>
                <c:pt idx="267">
                  <c:v>117</c:v>
                </c:pt>
                <c:pt idx="268">
                  <c:v>115</c:v>
                </c:pt>
                <c:pt idx="269">
                  <c:v>114</c:v>
                </c:pt>
                <c:pt idx="270">
                  <c:v>114</c:v>
                </c:pt>
                <c:pt idx="271">
                  <c:v>111</c:v>
                </c:pt>
                <c:pt idx="272">
                  <c:v>110</c:v>
                </c:pt>
                <c:pt idx="273">
                  <c:v>109</c:v>
                </c:pt>
                <c:pt idx="274">
                  <c:v>112</c:v>
                </c:pt>
                <c:pt idx="275">
                  <c:v>108</c:v>
                </c:pt>
                <c:pt idx="276">
                  <c:v>104</c:v>
                </c:pt>
                <c:pt idx="277">
                  <c:v>103</c:v>
                </c:pt>
                <c:pt idx="278">
                  <c:v>103</c:v>
                </c:pt>
                <c:pt idx="279">
                  <c:v>103</c:v>
                </c:pt>
                <c:pt idx="280">
                  <c:v>103</c:v>
                </c:pt>
                <c:pt idx="281">
                  <c:v>102</c:v>
                </c:pt>
                <c:pt idx="282">
                  <c:v>101</c:v>
                </c:pt>
                <c:pt idx="283">
                  <c:v>102</c:v>
                </c:pt>
                <c:pt idx="284">
                  <c:v>99</c:v>
                </c:pt>
                <c:pt idx="285">
                  <c:v>99</c:v>
                </c:pt>
                <c:pt idx="286">
                  <c:v>99</c:v>
                </c:pt>
                <c:pt idx="287">
                  <c:v>99</c:v>
                </c:pt>
                <c:pt idx="288">
                  <c:v>99</c:v>
                </c:pt>
                <c:pt idx="289">
                  <c:v>99</c:v>
                </c:pt>
                <c:pt idx="290">
                  <c:v>99</c:v>
                </c:pt>
                <c:pt idx="291">
                  <c:v>99</c:v>
                </c:pt>
                <c:pt idx="292">
                  <c:v>99</c:v>
                </c:pt>
                <c:pt idx="293">
                  <c:v>99</c:v>
                </c:pt>
                <c:pt idx="294">
                  <c:v>99</c:v>
                </c:pt>
                <c:pt idx="295">
                  <c:v>100</c:v>
                </c:pt>
                <c:pt idx="296">
                  <c:v>100</c:v>
                </c:pt>
                <c:pt idx="297">
                  <c:v>99</c:v>
                </c:pt>
                <c:pt idx="298">
                  <c:v>99</c:v>
                </c:pt>
                <c:pt idx="299">
                  <c:v>99</c:v>
                </c:pt>
                <c:pt idx="300">
                  <c:v>99</c:v>
                </c:pt>
                <c:pt idx="301">
                  <c:v>99</c:v>
                </c:pt>
                <c:pt idx="302">
                  <c:v>98</c:v>
                </c:pt>
                <c:pt idx="303">
                  <c:v>99</c:v>
                </c:pt>
                <c:pt idx="304">
                  <c:v>97</c:v>
                </c:pt>
                <c:pt idx="305">
                  <c:v>97</c:v>
                </c:pt>
                <c:pt idx="306">
                  <c:v>98</c:v>
                </c:pt>
                <c:pt idx="307">
                  <c:v>98</c:v>
                </c:pt>
                <c:pt idx="308">
                  <c:v>98</c:v>
                </c:pt>
                <c:pt idx="309">
                  <c:v>98</c:v>
                </c:pt>
                <c:pt idx="310">
                  <c:v>97</c:v>
                </c:pt>
                <c:pt idx="311">
                  <c:v>97</c:v>
                </c:pt>
                <c:pt idx="312">
                  <c:v>97</c:v>
                </c:pt>
                <c:pt idx="313">
                  <c:v>97</c:v>
                </c:pt>
                <c:pt idx="314">
                  <c:v>97</c:v>
                </c:pt>
                <c:pt idx="315">
                  <c:v>97</c:v>
                </c:pt>
                <c:pt idx="316">
                  <c:v>97</c:v>
                </c:pt>
                <c:pt idx="317">
                  <c:v>97</c:v>
                </c:pt>
                <c:pt idx="318">
                  <c:v>97</c:v>
                </c:pt>
                <c:pt idx="319">
                  <c:v>97</c:v>
                </c:pt>
                <c:pt idx="320">
                  <c:v>97</c:v>
                </c:pt>
                <c:pt idx="321">
                  <c:v>97</c:v>
                </c:pt>
                <c:pt idx="322">
                  <c:v>96</c:v>
                </c:pt>
                <c:pt idx="323">
                  <c:v>96</c:v>
                </c:pt>
                <c:pt idx="324">
                  <c:v>96</c:v>
                </c:pt>
                <c:pt idx="325">
                  <c:v>96</c:v>
                </c:pt>
                <c:pt idx="326">
                  <c:v>97</c:v>
                </c:pt>
                <c:pt idx="327">
                  <c:v>96</c:v>
                </c:pt>
                <c:pt idx="328">
                  <c:v>96</c:v>
                </c:pt>
                <c:pt idx="329">
                  <c:v>96</c:v>
                </c:pt>
                <c:pt idx="330">
                  <c:v>96</c:v>
                </c:pt>
                <c:pt idx="331">
                  <c:v>96</c:v>
                </c:pt>
                <c:pt idx="332">
                  <c:v>95</c:v>
                </c:pt>
                <c:pt idx="333">
                  <c:v>95</c:v>
                </c:pt>
                <c:pt idx="334">
                  <c:v>95</c:v>
                </c:pt>
                <c:pt idx="335">
                  <c:v>95</c:v>
                </c:pt>
                <c:pt idx="336">
                  <c:v>94</c:v>
                </c:pt>
                <c:pt idx="337">
                  <c:v>94</c:v>
                </c:pt>
                <c:pt idx="338">
                  <c:v>94</c:v>
                </c:pt>
                <c:pt idx="339">
                  <c:v>94</c:v>
                </c:pt>
                <c:pt idx="340">
                  <c:v>94</c:v>
                </c:pt>
                <c:pt idx="341">
                  <c:v>94</c:v>
                </c:pt>
                <c:pt idx="342">
                  <c:v>94</c:v>
                </c:pt>
                <c:pt idx="343">
                  <c:v>94</c:v>
                </c:pt>
                <c:pt idx="344">
                  <c:v>94</c:v>
                </c:pt>
                <c:pt idx="345">
                  <c:v>94</c:v>
                </c:pt>
                <c:pt idx="346">
                  <c:v>94</c:v>
                </c:pt>
                <c:pt idx="347">
                  <c:v>94</c:v>
                </c:pt>
                <c:pt idx="348">
                  <c:v>94</c:v>
                </c:pt>
                <c:pt idx="349">
                  <c:v>95</c:v>
                </c:pt>
                <c:pt idx="350">
                  <c:v>96</c:v>
                </c:pt>
                <c:pt idx="351">
                  <c:v>96</c:v>
                </c:pt>
                <c:pt idx="352">
                  <c:v>97</c:v>
                </c:pt>
                <c:pt idx="353">
                  <c:v>96</c:v>
                </c:pt>
                <c:pt idx="354">
                  <c:v>96</c:v>
                </c:pt>
                <c:pt idx="355">
                  <c:v>96</c:v>
                </c:pt>
                <c:pt idx="356">
                  <c:v>98</c:v>
                </c:pt>
                <c:pt idx="357">
                  <c:v>98</c:v>
                </c:pt>
                <c:pt idx="358">
                  <c:v>98</c:v>
                </c:pt>
                <c:pt idx="359">
                  <c:v>98</c:v>
                </c:pt>
                <c:pt idx="360">
                  <c:v>98</c:v>
                </c:pt>
                <c:pt idx="361">
                  <c:v>97</c:v>
                </c:pt>
                <c:pt idx="362">
                  <c:v>97</c:v>
                </c:pt>
                <c:pt idx="363">
                  <c:v>97</c:v>
                </c:pt>
                <c:pt idx="364">
                  <c:v>97</c:v>
                </c:pt>
                <c:pt idx="365">
                  <c:v>98</c:v>
                </c:pt>
                <c:pt idx="366">
                  <c:v>102</c:v>
                </c:pt>
                <c:pt idx="367">
                  <c:v>104</c:v>
                </c:pt>
                <c:pt idx="368">
                  <c:v>105</c:v>
                </c:pt>
                <c:pt idx="369">
                  <c:v>104</c:v>
                </c:pt>
                <c:pt idx="370">
                  <c:v>108</c:v>
                </c:pt>
                <c:pt idx="371">
                  <c:v>105</c:v>
                </c:pt>
                <c:pt idx="372">
                  <c:v>105</c:v>
                </c:pt>
                <c:pt idx="373">
                  <c:v>105</c:v>
                </c:pt>
                <c:pt idx="374">
                  <c:v>105</c:v>
                </c:pt>
                <c:pt idx="375">
                  <c:v>105</c:v>
                </c:pt>
                <c:pt idx="376">
                  <c:v>105</c:v>
                </c:pt>
                <c:pt idx="377">
                  <c:v>106</c:v>
                </c:pt>
                <c:pt idx="378">
                  <c:v>106</c:v>
                </c:pt>
                <c:pt idx="379">
                  <c:v>106</c:v>
                </c:pt>
                <c:pt idx="380">
                  <c:v>105</c:v>
                </c:pt>
                <c:pt idx="381">
                  <c:v>103</c:v>
                </c:pt>
                <c:pt idx="382">
                  <c:v>103</c:v>
                </c:pt>
                <c:pt idx="383">
                  <c:v>103</c:v>
                </c:pt>
                <c:pt idx="384">
                  <c:v>104</c:v>
                </c:pt>
                <c:pt idx="385">
                  <c:v>101</c:v>
                </c:pt>
                <c:pt idx="386">
                  <c:v>101</c:v>
                </c:pt>
                <c:pt idx="387">
                  <c:v>99</c:v>
                </c:pt>
                <c:pt idx="388">
                  <c:v>99</c:v>
                </c:pt>
                <c:pt idx="389">
                  <c:v>99</c:v>
                </c:pt>
                <c:pt idx="390">
                  <c:v>99</c:v>
                </c:pt>
                <c:pt idx="391">
                  <c:v>101</c:v>
                </c:pt>
                <c:pt idx="392">
                  <c:v>99</c:v>
                </c:pt>
                <c:pt idx="393">
                  <c:v>100</c:v>
                </c:pt>
                <c:pt idx="394">
                  <c:v>100</c:v>
                </c:pt>
                <c:pt idx="395">
                  <c:v>101</c:v>
                </c:pt>
                <c:pt idx="396">
                  <c:v>102</c:v>
                </c:pt>
                <c:pt idx="397">
                  <c:v>103</c:v>
                </c:pt>
                <c:pt idx="398">
                  <c:v>105</c:v>
                </c:pt>
                <c:pt idx="399">
                  <c:v>107</c:v>
                </c:pt>
                <c:pt idx="400">
                  <c:v>115</c:v>
                </c:pt>
                <c:pt idx="401">
                  <c:v>114</c:v>
                </c:pt>
                <c:pt idx="402">
                  <c:v>139</c:v>
                </c:pt>
                <c:pt idx="403">
                  <c:v>139</c:v>
                </c:pt>
                <c:pt idx="404">
                  <c:v>139</c:v>
                </c:pt>
                <c:pt idx="405">
                  <c:v>140</c:v>
                </c:pt>
                <c:pt idx="406">
                  <c:v>140</c:v>
                </c:pt>
                <c:pt idx="407">
                  <c:v>159</c:v>
                </c:pt>
                <c:pt idx="408">
                  <c:v>161</c:v>
                </c:pt>
                <c:pt idx="409">
                  <c:v>161</c:v>
                </c:pt>
                <c:pt idx="410">
                  <c:v>161</c:v>
                </c:pt>
                <c:pt idx="411">
                  <c:v>160</c:v>
                </c:pt>
                <c:pt idx="412">
                  <c:v>164</c:v>
                </c:pt>
                <c:pt idx="413">
                  <c:v>164</c:v>
                </c:pt>
                <c:pt idx="414">
                  <c:v>159</c:v>
                </c:pt>
                <c:pt idx="415">
                  <c:v>159</c:v>
                </c:pt>
                <c:pt idx="416">
                  <c:v>142</c:v>
                </c:pt>
                <c:pt idx="417">
                  <c:v>141</c:v>
                </c:pt>
                <c:pt idx="418">
                  <c:v>139</c:v>
                </c:pt>
                <c:pt idx="419">
                  <c:v>152</c:v>
                </c:pt>
                <c:pt idx="420">
                  <c:v>160</c:v>
                </c:pt>
                <c:pt idx="421">
                  <c:v>168</c:v>
                </c:pt>
                <c:pt idx="422">
                  <c:v>152</c:v>
                </c:pt>
                <c:pt idx="423">
                  <c:v>170</c:v>
                </c:pt>
                <c:pt idx="424">
                  <c:v>173</c:v>
                </c:pt>
                <c:pt idx="425">
                  <c:v>182</c:v>
                </c:pt>
                <c:pt idx="426">
                  <c:v>217</c:v>
                </c:pt>
                <c:pt idx="427">
                  <c:v>227</c:v>
                </c:pt>
                <c:pt idx="428">
                  <c:v>232</c:v>
                </c:pt>
                <c:pt idx="429">
                  <c:v>279</c:v>
                </c:pt>
                <c:pt idx="430">
                  <c:v>298</c:v>
                </c:pt>
                <c:pt idx="431">
                  <c:v>292</c:v>
                </c:pt>
                <c:pt idx="432">
                  <c:v>291</c:v>
                </c:pt>
                <c:pt idx="433">
                  <c:v>315</c:v>
                </c:pt>
                <c:pt idx="434">
                  <c:v>328</c:v>
                </c:pt>
                <c:pt idx="435">
                  <c:v>334</c:v>
                </c:pt>
                <c:pt idx="436">
                  <c:v>342</c:v>
                </c:pt>
                <c:pt idx="437">
                  <c:v>354</c:v>
                </c:pt>
                <c:pt idx="438">
                  <c:v>352</c:v>
                </c:pt>
                <c:pt idx="439">
                  <c:v>357</c:v>
                </c:pt>
                <c:pt idx="440">
                  <c:v>387</c:v>
                </c:pt>
                <c:pt idx="441">
                  <c:v>389</c:v>
                </c:pt>
                <c:pt idx="442">
                  <c:v>391</c:v>
                </c:pt>
                <c:pt idx="443">
                  <c:v>422</c:v>
                </c:pt>
                <c:pt idx="444">
                  <c:v>477</c:v>
                </c:pt>
                <c:pt idx="445">
                  <c:v>481</c:v>
                </c:pt>
                <c:pt idx="446">
                  <c:v>479</c:v>
                </c:pt>
                <c:pt idx="447">
                  <c:v>519</c:v>
                </c:pt>
                <c:pt idx="448">
                  <c:v>506</c:v>
                </c:pt>
                <c:pt idx="449">
                  <c:v>514</c:v>
                </c:pt>
                <c:pt idx="450">
                  <c:v>516</c:v>
                </c:pt>
                <c:pt idx="451">
                  <c:v>547</c:v>
                </c:pt>
                <c:pt idx="452">
                  <c:v>532</c:v>
                </c:pt>
                <c:pt idx="453">
                  <c:v>532</c:v>
                </c:pt>
                <c:pt idx="454">
                  <c:v>558</c:v>
                </c:pt>
                <c:pt idx="455">
                  <c:v>536</c:v>
                </c:pt>
                <c:pt idx="456">
                  <c:v>510</c:v>
                </c:pt>
                <c:pt idx="457">
                  <c:v>507</c:v>
                </c:pt>
                <c:pt idx="458">
                  <c:v>401</c:v>
                </c:pt>
                <c:pt idx="459">
                  <c:v>422</c:v>
                </c:pt>
                <c:pt idx="460">
                  <c:v>401</c:v>
                </c:pt>
                <c:pt idx="461">
                  <c:v>416</c:v>
                </c:pt>
                <c:pt idx="462">
                  <c:v>393</c:v>
                </c:pt>
                <c:pt idx="463">
                  <c:v>377</c:v>
                </c:pt>
                <c:pt idx="464">
                  <c:v>365</c:v>
                </c:pt>
                <c:pt idx="465">
                  <c:v>321</c:v>
                </c:pt>
                <c:pt idx="466">
                  <c:v>306</c:v>
                </c:pt>
                <c:pt idx="467">
                  <c:v>304</c:v>
                </c:pt>
                <c:pt idx="468">
                  <c:v>305</c:v>
                </c:pt>
                <c:pt idx="469">
                  <c:v>290</c:v>
                </c:pt>
                <c:pt idx="470">
                  <c:v>277</c:v>
                </c:pt>
                <c:pt idx="471">
                  <c:v>262</c:v>
                </c:pt>
                <c:pt idx="472">
                  <c:v>254</c:v>
                </c:pt>
                <c:pt idx="473">
                  <c:v>210</c:v>
                </c:pt>
                <c:pt idx="474">
                  <c:v>2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List1!$C$2:$C$476</c:f>
              <c:numCache>
                <c:formatCode>General</c:formatCode>
                <c:ptCount val="47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5</c:v>
                </c:pt>
                <c:pt idx="29">
                  <c:v>60</c:v>
                </c:pt>
                <c:pt idx="30">
                  <c:v>88</c:v>
                </c:pt>
                <c:pt idx="31">
                  <c:v>177</c:v>
                </c:pt>
                <c:pt idx="32">
                  <c:v>202</c:v>
                </c:pt>
                <c:pt idx="33">
                  <c:v>216</c:v>
                </c:pt>
                <c:pt idx="34">
                  <c:v>299</c:v>
                </c:pt>
                <c:pt idx="35">
                  <c:v>334</c:v>
                </c:pt>
                <c:pt idx="36">
                  <c:v>361</c:v>
                </c:pt>
                <c:pt idx="37">
                  <c:v>441</c:v>
                </c:pt>
                <c:pt idx="38">
                  <c:v>522</c:v>
                </c:pt>
                <c:pt idx="39">
                  <c:v>560</c:v>
                </c:pt>
                <c:pt idx="40">
                  <c:v>574</c:v>
                </c:pt>
                <c:pt idx="41">
                  <c:v>700</c:v>
                </c:pt>
                <c:pt idx="42">
                  <c:v>821</c:v>
                </c:pt>
                <c:pt idx="43">
                  <c:v>987</c:v>
                </c:pt>
                <c:pt idx="44">
                  <c:v>1155</c:v>
                </c:pt>
                <c:pt idx="45">
                  <c:v>1320</c:v>
                </c:pt>
                <c:pt idx="46">
                  <c:v>1386</c:v>
                </c:pt>
                <c:pt idx="47">
                  <c:v>1380</c:v>
                </c:pt>
                <c:pt idx="48">
                  <c:v>1518</c:v>
                </c:pt>
                <c:pt idx="49">
                  <c:v>1657</c:v>
                </c:pt>
                <c:pt idx="50">
                  <c:v>1874</c:v>
                </c:pt>
                <c:pt idx="51">
                  <c:v>2032</c:v>
                </c:pt>
                <c:pt idx="52">
                  <c:v>2291</c:v>
                </c:pt>
                <c:pt idx="53">
                  <c:v>2364</c:v>
                </c:pt>
                <c:pt idx="54">
                  <c:v>2329</c:v>
                </c:pt>
                <c:pt idx="55">
                  <c:v>2488</c:v>
                </c:pt>
                <c:pt idx="56">
                  <c:v>2657</c:v>
                </c:pt>
                <c:pt idx="57">
                  <c:v>2671</c:v>
                </c:pt>
                <c:pt idx="58">
                  <c:v>3065</c:v>
                </c:pt>
                <c:pt idx="59">
                  <c:v>3199</c:v>
                </c:pt>
                <c:pt idx="60">
                  <c:v>3115</c:v>
                </c:pt>
                <c:pt idx="61">
                  <c:v>2954</c:v>
                </c:pt>
                <c:pt idx="62">
                  <c:v>2969</c:v>
                </c:pt>
                <c:pt idx="63">
                  <c:v>2896</c:v>
                </c:pt>
                <c:pt idx="64">
                  <c:v>3082</c:v>
                </c:pt>
                <c:pt idx="65">
                  <c:v>3253</c:v>
                </c:pt>
                <c:pt idx="66">
                  <c:v>3072</c:v>
                </c:pt>
                <c:pt idx="67">
                  <c:v>2823</c:v>
                </c:pt>
                <c:pt idx="68">
                  <c:v>2722</c:v>
                </c:pt>
                <c:pt idx="69">
                  <c:v>2569</c:v>
                </c:pt>
                <c:pt idx="70">
                  <c:v>2427</c:v>
                </c:pt>
                <c:pt idx="71">
                  <c:v>2543</c:v>
                </c:pt>
                <c:pt idx="72">
                  <c:v>2665</c:v>
                </c:pt>
                <c:pt idx="73">
                  <c:v>2567</c:v>
                </c:pt>
                <c:pt idx="74">
                  <c:v>2365</c:v>
                </c:pt>
                <c:pt idx="75">
                  <c:v>2123</c:v>
                </c:pt>
                <c:pt idx="76">
                  <c:v>2079</c:v>
                </c:pt>
                <c:pt idx="77">
                  <c:v>1919</c:v>
                </c:pt>
                <c:pt idx="78">
                  <c:v>2019</c:v>
                </c:pt>
                <c:pt idx="79">
                  <c:v>2092</c:v>
                </c:pt>
                <c:pt idx="80">
                  <c:v>2035</c:v>
                </c:pt>
                <c:pt idx="81">
                  <c:v>1781</c:v>
                </c:pt>
                <c:pt idx="82">
                  <c:v>1596</c:v>
                </c:pt>
                <c:pt idx="83">
                  <c:v>1573</c:v>
                </c:pt>
                <c:pt idx="84">
                  <c:v>1511</c:v>
                </c:pt>
                <c:pt idx="85">
                  <c:v>1535</c:v>
                </c:pt>
                <c:pt idx="86">
                  <c:v>1556</c:v>
                </c:pt>
                <c:pt idx="87">
                  <c:v>1511</c:v>
                </c:pt>
                <c:pt idx="88">
                  <c:v>1474</c:v>
                </c:pt>
                <c:pt idx="89">
                  <c:v>1328</c:v>
                </c:pt>
                <c:pt idx="90">
                  <c:v>1301</c:v>
                </c:pt>
                <c:pt idx="91">
                  <c:v>1294</c:v>
                </c:pt>
                <c:pt idx="92">
                  <c:v>1340</c:v>
                </c:pt>
                <c:pt idx="93">
                  <c:v>1377</c:v>
                </c:pt>
                <c:pt idx="94">
                  <c:v>1311</c:v>
                </c:pt>
                <c:pt idx="95">
                  <c:v>1250</c:v>
                </c:pt>
                <c:pt idx="96">
                  <c:v>1177</c:v>
                </c:pt>
                <c:pt idx="97">
                  <c:v>1237</c:v>
                </c:pt>
                <c:pt idx="98">
                  <c:v>1225</c:v>
                </c:pt>
                <c:pt idx="99">
                  <c:v>1263</c:v>
                </c:pt>
                <c:pt idx="100">
                  <c:v>1309</c:v>
                </c:pt>
                <c:pt idx="101">
                  <c:v>1289</c:v>
                </c:pt>
                <c:pt idx="102">
                  <c:v>1218</c:v>
                </c:pt>
                <c:pt idx="103">
                  <c:v>1178</c:v>
                </c:pt>
                <c:pt idx="104">
                  <c:v>1211</c:v>
                </c:pt>
                <c:pt idx="105">
                  <c:v>1215</c:v>
                </c:pt>
                <c:pt idx="106">
                  <c:v>1283</c:v>
                </c:pt>
                <c:pt idx="107">
                  <c:v>1316</c:v>
                </c:pt>
                <c:pt idx="108">
                  <c:v>1267</c:v>
                </c:pt>
                <c:pt idx="109">
                  <c:v>1211</c:v>
                </c:pt>
                <c:pt idx="110">
                  <c:v>1161</c:v>
                </c:pt>
                <c:pt idx="111">
                  <c:v>1260</c:v>
                </c:pt>
                <c:pt idx="112">
                  <c:v>1306</c:v>
                </c:pt>
                <c:pt idx="113">
                  <c:v>1393</c:v>
                </c:pt>
                <c:pt idx="114">
                  <c:v>1408</c:v>
                </c:pt>
                <c:pt idx="115">
                  <c:v>1355</c:v>
                </c:pt>
                <c:pt idx="116">
                  <c:v>1311</c:v>
                </c:pt>
                <c:pt idx="117">
                  <c:v>1280</c:v>
                </c:pt>
                <c:pt idx="118">
                  <c:v>1391</c:v>
                </c:pt>
                <c:pt idx="119">
                  <c:v>1479</c:v>
                </c:pt>
                <c:pt idx="120">
                  <c:v>1553</c:v>
                </c:pt>
                <c:pt idx="121">
                  <c:v>1619</c:v>
                </c:pt>
                <c:pt idx="122">
                  <c:v>1523</c:v>
                </c:pt>
                <c:pt idx="123">
                  <c:v>1451</c:v>
                </c:pt>
                <c:pt idx="124">
                  <c:v>1384</c:v>
                </c:pt>
                <c:pt idx="125">
                  <c:v>1643</c:v>
                </c:pt>
                <c:pt idx="126">
                  <c:v>1763</c:v>
                </c:pt>
                <c:pt idx="127">
                  <c:v>1838</c:v>
                </c:pt>
                <c:pt idx="128">
                  <c:v>1898</c:v>
                </c:pt>
                <c:pt idx="129">
                  <c:v>1799</c:v>
                </c:pt>
                <c:pt idx="130">
                  <c:v>1683</c:v>
                </c:pt>
                <c:pt idx="131">
                  <c:v>1565</c:v>
                </c:pt>
                <c:pt idx="132">
                  <c:v>1710</c:v>
                </c:pt>
                <c:pt idx="133">
                  <c:v>1794</c:v>
                </c:pt>
                <c:pt idx="134">
                  <c:v>1865</c:v>
                </c:pt>
                <c:pt idx="135">
                  <c:v>1866</c:v>
                </c:pt>
                <c:pt idx="136">
                  <c:v>1723</c:v>
                </c:pt>
                <c:pt idx="137">
                  <c:v>1580</c:v>
                </c:pt>
                <c:pt idx="138">
                  <c:v>1471</c:v>
                </c:pt>
                <c:pt idx="139">
                  <c:v>1468</c:v>
                </c:pt>
                <c:pt idx="140">
                  <c:v>1418</c:v>
                </c:pt>
                <c:pt idx="141">
                  <c:v>1450</c:v>
                </c:pt>
                <c:pt idx="142">
                  <c:v>1478</c:v>
                </c:pt>
                <c:pt idx="143">
                  <c:v>1384</c:v>
                </c:pt>
                <c:pt idx="144">
                  <c:v>1306</c:v>
                </c:pt>
                <c:pt idx="145">
                  <c:v>1196</c:v>
                </c:pt>
                <c:pt idx="146">
                  <c:v>1209</c:v>
                </c:pt>
                <c:pt idx="147">
                  <c:v>1213</c:v>
                </c:pt>
                <c:pt idx="148">
                  <c:v>1239</c:v>
                </c:pt>
                <c:pt idx="149">
                  <c:v>1250</c:v>
                </c:pt>
                <c:pt idx="150">
                  <c:v>1166</c:v>
                </c:pt>
                <c:pt idx="151">
                  <c:v>1099</c:v>
                </c:pt>
                <c:pt idx="152">
                  <c:v>1021</c:v>
                </c:pt>
                <c:pt idx="153">
                  <c:v>1041</c:v>
                </c:pt>
                <c:pt idx="154">
                  <c:v>1031</c:v>
                </c:pt>
                <c:pt idx="155">
                  <c:v>1070</c:v>
                </c:pt>
                <c:pt idx="156">
                  <c:v>1091</c:v>
                </c:pt>
                <c:pt idx="157">
                  <c:v>1037</c:v>
                </c:pt>
                <c:pt idx="158">
                  <c:v>968</c:v>
                </c:pt>
                <c:pt idx="159">
                  <c:v>925</c:v>
                </c:pt>
                <c:pt idx="160">
                  <c:v>948</c:v>
                </c:pt>
                <c:pt idx="161">
                  <c:v>916</c:v>
                </c:pt>
                <c:pt idx="162">
                  <c:v>932</c:v>
                </c:pt>
                <c:pt idx="163">
                  <c:v>957</c:v>
                </c:pt>
                <c:pt idx="164">
                  <c:v>919</c:v>
                </c:pt>
                <c:pt idx="165">
                  <c:v>860</c:v>
                </c:pt>
                <c:pt idx="166">
                  <c:v>809</c:v>
                </c:pt>
                <c:pt idx="167">
                  <c:v>827</c:v>
                </c:pt>
                <c:pt idx="168">
                  <c:v>818</c:v>
                </c:pt>
                <c:pt idx="169">
                  <c:v>837</c:v>
                </c:pt>
                <c:pt idx="170">
                  <c:v>852</c:v>
                </c:pt>
                <c:pt idx="171">
                  <c:v>823</c:v>
                </c:pt>
                <c:pt idx="172">
                  <c:v>783</c:v>
                </c:pt>
                <c:pt idx="173">
                  <c:v>756</c:v>
                </c:pt>
                <c:pt idx="174">
                  <c:v>788</c:v>
                </c:pt>
                <c:pt idx="175">
                  <c:v>801</c:v>
                </c:pt>
                <c:pt idx="176">
                  <c:v>817</c:v>
                </c:pt>
                <c:pt idx="177">
                  <c:v>842</c:v>
                </c:pt>
                <c:pt idx="178">
                  <c:v>820</c:v>
                </c:pt>
                <c:pt idx="179">
                  <c:v>771</c:v>
                </c:pt>
                <c:pt idx="180">
                  <c:v>736</c:v>
                </c:pt>
                <c:pt idx="181">
                  <c:v>760</c:v>
                </c:pt>
                <c:pt idx="182">
                  <c:v>753</c:v>
                </c:pt>
                <c:pt idx="183">
                  <c:v>794</c:v>
                </c:pt>
                <c:pt idx="184">
                  <c:v>821</c:v>
                </c:pt>
                <c:pt idx="185">
                  <c:v>770</c:v>
                </c:pt>
                <c:pt idx="186">
                  <c:v>719</c:v>
                </c:pt>
                <c:pt idx="187">
                  <c:v>687</c:v>
                </c:pt>
                <c:pt idx="188">
                  <c:v>706</c:v>
                </c:pt>
                <c:pt idx="189">
                  <c:v>692</c:v>
                </c:pt>
                <c:pt idx="190">
                  <c:v>712</c:v>
                </c:pt>
                <c:pt idx="191">
                  <c:v>727</c:v>
                </c:pt>
                <c:pt idx="192">
                  <c:v>743</c:v>
                </c:pt>
                <c:pt idx="193">
                  <c:v>753</c:v>
                </c:pt>
                <c:pt idx="194">
                  <c:v>759</c:v>
                </c:pt>
                <c:pt idx="195">
                  <c:v>793</c:v>
                </c:pt>
                <c:pt idx="196">
                  <c:v>755</c:v>
                </c:pt>
                <c:pt idx="197">
                  <c:v>731</c:v>
                </c:pt>
                <c:pt idx="198">
                  <c:v>693</c:v>
                </c:pt>
                <c:pt idx="199">
                  <c:v>673</c:v>
                </c:pt>
                <c:pt idx="200">
                  <c:v>640</c:v>
                </c:pt>
                <c:pt idx="201">
                  <c:v>635</c:v>
                </c:pt>
                <c:pt idx="202">
                  <c:v>658</c:v>
                </c:pt>
                <c:pt idx="203">
                  <c:v>613</c:v>
                </c:pt>
                <c:pt idx="204">
                  <c:v>588</c:v>
                </c:pt>
                <c:pt idx="205">
                  <c:v>560</c:v>
                </c:pt>
                <c:pt idx="206">
                  <c:v>548</c:v>
                </c:pt>
                <c:pt idx="207">
                  <c:v>525</c:v>
                </c:pt>
                <c:pt idx="208">
                  <c:v>517</c:v>
                </c:pt>
                <c:pt idx="209">
                  <c:v>524</c:v>
                </c:pt>
                <c:pt idx="210">
                  <c:v>510</c:v>
                </c:pt>
                <c:pt idx="211">
                  <c:v>483</c:v>
                </c:pt>
                <c:pt idx="212">
                  <c:v>474</c:v>
                </c:pt>
                <c:pt idx="213">
                  <c:v>449</c:v>
                </c:pt>
                <c:pt idx="214">
                  <c:v>433</c:v>
                </c:pt>
                <c:pt idx="215">
                  <c:v>432</c:v>
                </c:pt>
                <c:pt idx="216">
                  <c:v>435</c:v>
                </c:pt>
                <c:pt idx="217">
                  <c:v>421</c:v>
                </c:pt>
                <c:pt idx="218">
                  <c:v>413</c:v>
                </c:pt>
                <c:pt idx="219">
                  <c:v>411</c:v>
                </c:pt>
                <c:pt idx="220">
                  <c:v>405</c:v>
                </c:pt>
                <c:pt idx="221">
                  <c:v>390</c:v>
                </c:pt>
                <c:pt idx="222">
                  <c:v>386</c:v>
                </c:pt>
                <c:pt idx="223">
                  <c:v>391</c:v>
                </c:pt>
                <c:pt idx="224">
                  <c:v>367</c:v>
                </c:pt>
                <c:pt idx="225">
                  <c:v>360</c:v>
                </c:pt>
                <c:pt idx="226">
                  <c:v>354</c:v>
                </c:pt>
                <c:pt idx="227">
                  <c:v>350</c:v>
                </c:pt>
                <c:pt idx="228">
                  <c:v>349</c:v>
                </c:pt>
                <c:pt idx="229">
                  <c:v>346</c:v>
                </c:pt>
                <c:pt idx="230">
                  <c:v>354</c:v>
                </c:pt>
                <c:pt idx="231">
                  <c:v>348</c:v>
                </c:pt>
                <c:pt idx="232">
                  <c:v>325</c:v>
                </c:pt>
                <c:pt idx="233">
                  <c:v>307</c:v>
                </c:pt>
                <c:pt idx="234">
                  <c:v>299</c:v>
                </c:pt>
                <c:pt idx="235">
                  <c:v>292</c:v>
                </c:pt>
                <c:pt idx="236">
                  <c:v>290</c:v>
                </c:pt>
                <c:pt idx="237">
                  <c:v>294</c:v>
                </c:pt>
                <c:pt idx="238">
                  <c:v>291</c:v>
                </c:pt>
                <c:pt idx="239">
                  <c:v>286</c:v>
                </c:pt>
                <c:pt idx="240">
                  <c:v>282</c:v>
                </c:pt>
                <c:pt idx="241">
                  <c:v>279</c:v>
                </c:pt>
                <c:pt idx="242">
                  <c:v>276</c:v>
                </c:pt>
                <c:pt idx="243">
                  <c:v>275</c:v>
                </c:pt>
                <c:pt idx="244">
                  <c:v>277</c:v>
                </c:pt>
                <c:pt idx="245">
                  <c:v>266</c:v>
                </c:pt>
                <c:pt idx="246">
                  <c:v>262</c:v>
                </c:pt>
                <c:pt idx="247">
                  <c:v>263</c:v>
                </c:pt>
                <c:pt idx="248">
                  <c:v>261</c:v>
                </c:pt>
                <c:pt idx="249">
                  <c:v>256</c:v>
                </c:pt>
                <c:pt idx="250">
                  <c:v>254</c:v>
                </c:pt>
                <c:pt idx="251">
                  <c:v>255</c:v>
                </c:pt>
                <c:pt idx="252">
                  <c:v>251</c:v>
                </c:pt>
                <c:pt idx="253">
                  <c:v>247</c:v>
                </c:pt>
                <c:pt idx="254">
                  <c:v>247</c:v>
                </c:pt>
                <c:pt idx="255">
                  <c:v>247</c:v>
                </c:pt>
                <c:pt idx="256">
                  <c:v>244</c:v>
                </c:pt>
                <c:pt idx="257">
                  <c:v>244</c:v>
                </c:pt>
                <c:pt idx="258">
                  <c:v>246</c:v>
                </c:pt>
                <c:pt idx="259">
                  <c:v>247</c:v>
                </c:pt>
                <c:pt idx="260">
                  <c:v>243</c:v>
                </c:pt>
                <c:pt idx="261">
                  <c:v>244</c:v>
                </c:pt>
                <c:pt idx="262">
                  <c:v>243</c:v>
                </c:pt>
                <c:pt idx="263">
                  <c:v>240</c:v>
                </c:pt>
                <c:pt idx="264">
                  <c:v>240</c:v>
                </c:pt>
                <c:pt idx="265">
                  <c:v>242</c:v>
                </c:pt>
                <c:pt idx="266">
                  <c:v>240</c:v>
                </c:pt>
                <c:pt idx="267">
                  <c:v>237</c:v>
                </c:pt>
                <c:pt idx="268">
                  <c:v>236</c:v>
                </c:pt>
                <c:pt idx="269">
                  <c:v>234</c:v>
                </c:pt>
                <c:pt idx="270">
                  <c:v>232</c:v>
                </c:pt>
                <c:pt idx="271">
                  <c:v>232</c:v>
                </c:pt>
                <c:pt idx="272">
                  <c:v>231</c:v>
                </c:pt>
                <c:pt idx="273">
                  <c:v>228</c:v>
                </c:pt>
                <c:pt idx="274">
                  <c:v>225</c:v>
                </c:pt>
                <c:pt idx="275">
                  <c:v>224</c:v>
                </c:pt>
                <c:pt idx="276">
                  <c:v>223</c:v>
                </c:pt>
                <c:pt idx="277">
                  <c:v>223</c:v>
                </c:pt>
                <c:pt idx="278">
                  <c:v>223</c:v>
                </c:pt>
                <c:pt idx="279">
                  <c:v>222</c:v>
                </c:pt>
                <c:pt idx="280">
                  <c:v>220</c:v>
                </c:pt>
                <c:pt idx="281">
                  <c:v>218</c:v>
                </c:pt>
                <c:pt idx="282">
                  <c:v>218</c:v>
                </c:pt>
                <c:pt idx="283">
                  <c:v>218</c:v>
                </c:pt>
                <c:pt idx="284">
                  <c:v>218</c:v>
                </c:pt>
                <c:pt idx="285">
                  <c:v>218</c:v>
                </c:pt>
                <c:pt idx="286">
                  <c:v>218</c:v>
                </c:pt>
                <c:pt idx="287">
                  <c:v>218</c:v>
                </c:pt>
                <c:pt idx="288">
                  <c:v>218</c:v>
                </c:pt>
                <c:pt idx="289">
                  <c:v>217</c:v>
                </c:pt>
                <c:pt idx="290">
                  <c:v>217</c:v>
                </c:pt>
                <c:pt idx="291">
                  <c:v>217</c:v>
                </c:pt>
                <c:pt idx="292">
                  <c:v>217</c:v>
                </c:pt>
                <c:pt idx="293">
                  <c:v>217</c:v>
                </c:pt>
                <c:pt idx="294">
                  <c:v>217</c:v>
                </c:pt>
                <c:pt idx="295">
                  <c:v>217</c:v>
                </c:pt>
                <c:pt idx="296">
                  <c:v>217</c:v>
                </c:pt>
                <c:pt idx="297">
                  <c:v>216</c:v>
                </c:pt>
                <c:pt idx="298">
                  <c:v>216</c:v>
                </c:pt>
                <c:pt idx="299">
                  <c:v>216</c:v>
                </c:pt>
                <c:pt idx="300">
                  <c:v>216</c:v>
                </c:pt>
                <c:pt idx="301">
                  <c:v>216</c:v>
                </c:pt>
                <c:pt idx="302">
                  <c:v>217</c:v>
                </c:pt>
                <c:pt idx="303">
                  <c:v>217</c:v>
                </c:pt>
                <c:pt idx="304">
                  <c:v>217</c:v>
                </c:pt>
                <c:pt idx="305">
                  <c:v>217</c:v>
                </c:pt>
                <c:pt idx="306">
                  <c:v>217</c:v>
                </c:pt>
                <c:pt idx="307">
                  <c:v>217</c:v>
                </c:pt>
                <c:pt idx="308">
                  <c:v>217</c:v>
                </c:pt>
                <c:pt idx="309">
                  <c:v>217</c:v>
                </c:pt>
                <c:pt idx="310">
                  <c:v>217</c:v>
                </c:pt>
                <c:pt idx="311">
                  <c:v>217</c:v>
                </c:pt>
                <c:pt idx="312">
                  <c:v>217</c:v>
                </c:pt>
                <c:pt idx="313">
                  <c:v>218</c:v>
                </c:pt>
                <c:pt idx="314">
                  <c:v>218</c:v>
                </c:pt>
                <c:pt idx="315">
                  <c:v>218</c:v>
                </c:pt>
                <c:pt idx="316">
                  <c:v>218</c:v>
                </c:pt>
                <c:pt idx="317">
                  <c:v>218</c:v>
                </c:pt>
                <c:pt idx="318">
                  <c:v>217</c:v>
                </c:pt>
                <c:pt idx="319">
                  <c:v>217</c:v>
                </c:pt>
                <c:pt idx="320">
                  <c:v>217</c:v>
                </c:pt>
                <c:pt idx="321">
                  <c:v>217</c:v>
                </c:pt>
                <c:pt idx="322">
                  <c:v>217</c:v>
                </c:pt>
                <c:pt idx="323">
                  <c:v>218</c:v>
                </c:pt>
                <c:pt idx="324">
                  <c:v>217</c:v>
                </c:pt>
                <c:pt idx="325">
                  <c:v>217</c:v>
                </c:pt>
                <c:pt idx="326">
                  <c:v>216</c:v>
                </c:pt>
                <c:pt idx="327">
                  <c:v>216</c:v>
                </c:pt>
                <c:pt idx="328">
                  <c:v>215</c:v>
                </c:pt>
                <c:pt idx="329">
                  <c:v>216</c:v>
                </c:pt>
                <c:pt idx="330">
                  <c:v>217</c:v>
                </c:pt>
                <c:pt idx="331">
                  <c:v>217</c:v>
                </c:pt>
                <c:pt idx="332">
                  <c:v>217</c:v>
                </c:pt>
                <c:pt idx="333">
                  <c:v>217</c:v>
                </c:pt>
                <c:pt idx="334">
                  <c:v>217</c:v>
                </c:pt>
                <c:pt idx="335">
                  <c:v>217</c:v>
                </c:pt>
                <c:pt idx="336">
                  <c:v>217</c:v>
                </c:pt>
                <c:pt idx="337">
                  <c:v>217</c:v>
                </c:pt>
                <c:pt idx="338">
                  <c:v>216</c:v>
                </c:pt>
                <c:pt idx="339">
                  <c:v>216</c:v>
                </c:pt>
                <c:pt idx="340">
                  <c:v>216</c:v>
                </c:pt>
                <c:pt idx="341">
                  <c:v>217</c:v>
                </c:pt>
                <c:pt idx="342">
                  <c:v>217</c:v>
                </c:pt>
                <c:pt idx="343">
                  <c:v>216</c:v>
                </c:pt>
                <c:pt idx="344">
                  <c:v>216</c:v>
                </c:pt>
                <c:pt idx="345">
                  <c:v>216</c:v>
                </c:pt>
                <c:pt idx="346">
                  <c:v>216</c:v>
                </c:pt>
                <c:pt idx="347">
                  <c:v>216</c:v>
                </c:pt>
                <c:pt idx="348">
                  <c:v>216</c:v>
                </c:pt>
                <c:pt idx="349">
                  <c:v>216</c:v>
                </c:pt>
                <c:pt idx="350">
                  <c:v>215</c:v>
                </c:pt>
                <c:pt idx="351">
                  <c:v>215</c:v>
                </c:pt>
                <c:pt idx="352">
                  <c:v>215</c:v>
                </c:pt>
                <c:pt idx="353">
                  <c:v>215</c:v>
                </c:pt>
                <c:pt idx="354">
                  <c:v>215</c:v>
                </c:pt>
                <c:pt idx="355">
                  <c:v>215</c:v>
                </c:pt>
                <c:pt idx="356">
                  <c:v>216</c:v>
                </c:pt>
                <c:pt idx="357">
                  <c:v>216</c:v>
                </c:pt>
                <c:pt idx="358">
                  <c:v>216</c:v>
                </c:pt>
                <c:pt idx="359">
                  <c:v>216</c:v>
                </c:pt>
                <c:pt idx="360">
                  <c:v>217</c:v>
                </c:pt>
                <c:pt idx="361">
                  <c:v>217</c:v>
                </c:pt>
                <c:pt idx="362">
                  <c:v>217</c:v>
                </c:pt>
                <c:pt idx="363">
                  <c:v>217</c:v>
                </c:pt>
                <c:pt idx="364">
                  <c:v>217</c:v>
                </c:pt>
                <c:pt idx="365">
                  <c:v>219</c:v>
                </c:pt>
                <c:pt idx="366">
                  <c:v>220</c:v>
                </c:pt>
                <c:pt idx="367">
                  <c:v>221</c:v>
                </c:pt>
                <c:pt idx="368">
                  <c:v>221</c:v>
                </c:pt>
                <c:pt idx="369">
                  <c:v>221</c:v>
                </c:pt>
                <c:pt idx="370">
                  <c:v>222</c:v>
                </c:pt>
                <c:pt idx="371">
                  <c:v>223</c:v>
                </c:pt>
                <c:pt idx="372">
                  <c:v>224</c:v>
                </c:pt>
                <c:pt idx="373">
                  <c:v>225</c:v>
                </c:pt>
                <c:pt idx="374">
                  <c:v>225</c:v>
                </c:pt>
                <c:pt idx="375">
                  <c:v>224</c:v>
                </c:pt>
                <c:pt idx="376">
                  <c:v>223</c:v>
                </c:pt>
                <c:pt idx="377">
                  <c:v>223</c:v>
                </c:pt>
                <c:pt idx="378">
                  <c:v>224</c:v>
                </c:pt>
                <c:pt idx="379">
                  <c:v>223</c:v>
                </c:pt>
                <c:pt idx="380">
                  <c:v>223</c:v>
                </c:pt>
                <c:pt idx="381">
                  <c:v>222</c:v>
                </c:pt>
                <c:pt idx="382">
                  <c:v>220</c:v>
                </c:pt>
                <c:pt idx="383">
                  <c:v>220</c:v>
                </c:pt>
                <c:pt idx="384">
                  <c:v>224</c:v>
                </c:pt>
                <c:pt idx="385">
                  <c:v>227</c:v>
                </c:pt>
                <c:pt idx="386">
                  <c:v>227</c:v>
                </c:pt>
                <c:pt idx="387">
                  <c:v>227</c:v>
                </c:pt>
                <c:pt idx="388">
                  <c:v>227</c:v>
                </c:pt>
                <c:pt idx="389">
                  <c:v>228</c:v>
                </c:pt>
                <c:pt idx="390">
                  <c:v>229</c:v>
                </c:pt>
                <c:pt idx="391">
                  <c:v>233</c:v>
                </c:pt>
                <c:pt idx="392">
                  <c:v>235</c:v>
                </c:pt>
                <c:pt idx="393">
                  <c:v>240</c:v>
                </c:pt>
                <c:pt idx="394">
                  <c:v>241</c:v>
                </c:pt>
                <c:pt idx="395">
                  <c:v>242</c:v>
                </c:pt>
                <c:pt idx="396">
                  <c:v>241</c:v>
                </c:pt>
                <c:pt idx="397">
                  <c:v>240</c:v>
                </c:pt>
                <c:pt idx="398">
                  <c:v>242</c:v>
                </c:pt>
                <c:pt idx="399">
                  <c:v>244</c:v>
                </c:pt>
                <c:pt idx="400">
                  <c:v>244</c:v>
                </c:pt>
                <c:pt idx="401">
                  <c:v>245</c:v>
                </c:pt>
                <c:pt idx="402">
                  <c:v>246</c:v>
                </c:pt>
                <c:pt idx="403">
                  <c:v>247</c:v>
                </c:pt>
                <c:pt idx="404">
                  <c:v>245</c:v>
                </c:pt>
                <c:pt idx="405">
                  <c:v>247</c:v>
                </c:pt>
                <c:pt idx="406">
                  <c:v>243</c:v>
                </c:pt>
                <c:pt idx="407">
                  <c:v>243</c:v>
                </c:pt>
                <c:pt idx="408">
                  <c:v>239</c:v>
                </c:pt>
                <c:pt idx="409">
                  <c:v>244</c:v>
                </c:pt>
                <c:pt idx="410">
                  <c:v>244</c:v>
                </c:pt>
                <c:pt idx="411">
                  <c:v>245</c:v>
                </c:pt>
                <c:pt idx="412">
                  <c:v>257</c:v>
                </c:pt>
                <c:pt idx="413">
                  <c:v>261</c:v>
                </c:pt>
                <c:pt idx="414">
                  <c:v>269</c:v>
                </c:pt>
                <c:pt idx="415">
                  <c:v>272</c:v>
                </c:pt>
                <c:pt idx="416">
                  <c:v>278</c:v>
                </c:pt>
                <c:pt idx="417">
                  <c:v>274</c:v>
                </c:pt>
                <c:pt idx="418">
                  <c:v>277</c:v>
                </c:pt>
                <c:pt idx="419">
                  <c:v>295</c:v>
                </c:pt>
                <c:pt idx="420">
                  <c:v>297</c:v>
                </c:pt>
                <c:pt idx="421">
                  <c:v>311</c:v>
                </c:pt>
                <c:pt idx="422">
                  <c:v>312</c:v>
                </c:pt>
                <c:pt idx="423">
                  <c:v>317</c:v>
                </c:pt>
                <c:pt idx="424">
                  <c:v>317</c:v>
                </c:pt>
                <c:pt idx="425">
                  <c:v>318</c:v>
                </c:pt>
                <c:pt idx="426">
                  <c:v>359</c:v>
                </c:pt>
                <c:pt idx="427">
                  <c:v>369</c:v>
                </c:pt>
                <c:pt idx="428">
                  <c:v>381</c:v>
                </c:pt>
                <c:pt idx="429">
                  <c:v>394</c:v>
                </c:pt>
                <c:pt idx="430">
                  <c:v>412</c:v>
                </c:pt>
                <c:pt idx="431">
                  <c:v>419</c:v>
                </c:pt>
                <c:pt idx="432">
                  <c:v>421</c:v>
                </c:pt>
                <c:pt idx="433">
                  <c:v>467</c:v>
                </c:pt>
                <c:pt idx="434">
                  <c:v>480</c:v>
                </c:pt>
                <c:pt idx="435">
                  <c:v>490</c:v>
                </c:pt>
                <c:pt idx="436">
                  <c:v>516</c:v>
                </c:pt>
                <c:pt idx="437">
                  <c:v>545</c:v>
                </c:pt>
                <c:pt idx="438">
                  <c:v>553</c:v>
                </c:pt>
                <c:pt idx="439">
                  <c:v>559</c:v>
                </c:pt>
                <c:pt idx="440">
                  <c:v>606</c:v>
                </c:pt>
                <c:pt idx="441">
                  <c:v>602</c:v>
                </c:pt>
                <c:pt idx="442">
                  <c:v>585</c:v>
                </c:pt>
                <c:pt idx="443">
                  <c:v>602</c:v>
                </c:pt>
                <c:pt idx="444">
                  <c:v>626</c:v>
                </c:pt>
                <c:pt idx="445">
                  <c:v>612</c:v>
                </c:pt>
                <c:pt idx="446">
                  <c:v>608</c:v>
                </c:pt>
                <c:pt idx="447">
                  <c:v>667</c:v>
                </c:pt>
                <c:pt idx="448">
                  <c:v>670</c:v>
                </c:pt>
                <c:pt idx="449">
                  <c:v>677</c:v>
                </c:pt>
                <c:pt idx="450">
                  <c:v>679</c:v>
                </c:pt>
                <c:pt idx="451">
                  <c:v>686</c:v>
                </c:pt>
                <c:pt idx="452">
                  <c:v>673</c:v>
                </c:pt>
                <c:pt idx="453">
                  <c:v>663</c:v>
                </c:pt>
                <c:pt idx="454">
                  <c:v>695</c:v>
                </c:pt>
                <c:pt idx="455">
                  <c:v>675</c:v>
                </c:pt>
                <c:pt idx="456">
                  <c:v>665</c:v>
                </c:pt>
                <c:pt idx="457">
                  <c:v>680</c:v>
                </c:pt>
                <c:pt idx="458">
                  <c:v>639</c:v>
                </c:pt>
                <c:pt idx="459">
                  <c:v>603</c:v>
                </c:pt>
                <c:pt idx="460">
                  <c:v>593</c:v>
                </c:pt>
                <c:pt idx="461">
                  <c:v>625</c:v>
                </c:pt>
                <c:pt idx="462">
                  <c:v>584</c:v>
                </c:pt>
                <c:pt idx="463">
                  <c:v>555</c:v>
                </c:pt>
                <c:pt idx="464">
                  <c:v>529</c:v>
                </c:pt>
                <c:pt idx="465">
                  <c:v>513</c:v>
                </c:pt>
                <c:pt idx="466">
                  <c:v>481</c:v>
                </c:pt>
                <c:pt idx="467">
                  <c:v>473</c:v>
                </c:pt>
                <c:pt idx="468">
                  <c:v>480</c:v>
                </c:pt>
                <c:pt idx="469">
                  <c:v>455</c:v>
                </c:pt>
                <c:pt idx="470">
                  <c:v>434</c:v>
                </c:pt>
                <c:pt idx="471">
                  <c:v>414</c:v>
                </c:pt>
                <c:pt idx="472">
                  <c:v>393</c:v>
                </c:pt>
                <c:pt idx="473">
                  <c:v>346</c:v>
                </c:pt>
                <c:pt idx="474">
                  <c:v>3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List1!$D$2:$D$476</c:f>
              <c:numCache>
                <c:formatCode>General</c:formatCode>
                <c:ptCount val="475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6</c:v>
                </c:pt>
                <c:pt idx="29">
                  <c:v>98</c:v>
                </c:pt>
                <c:pt idx="30">
                  <c:v>155</c:v>
                </c:pt>
                <c:pt idx="31">
                  <c:v>299</c:v>
                </c:pt>
                <c:pt idx="32">
                  <c:v>359</c:v>
                </c:pt>
                <c:pt idx="33">
                  <c:v>425</c:v>
                </c:pt>
                <c:pt idx="34">
                  <c:v>665</c:v>
                </c:pt>
                <c:pt idx="35">
                  <c:v>771</c:v>
                </c:pt>
                <c:pt idx="36">
                  <c:v>836</c:v>
                </c:pt>
                <c:pt idx="37">
                  <c:v>984</c:v>
                </c:pt>
                <c:pt idx="38">
                  <c:v>1197</c:v>
                </c:pt>
                <c:pt idx="39">
                  <c:v>1255</c:v>
                </c:pt>
                <c:pt idx="40">
                  <c:v>1236</c:v>
                </c:pt>
                <c:pt idx="41">
                  <c:v>1475</c:v>
                </c:pt>
                <c:pt idx="42">
                  <c:v>1766</c:v>
                </c:pt>
                <c:pt idx="43">
                  <c:v>2062</c:v>
                </c:pt>
                <c:pt idx="44">
                  <c:v>2400</c:v>
                </c:pt>
                <c:pt idx="45">
                  <c:v>2693</c:v>
                </c:pt>
                <c:pt idx="46">
                  <c:v>2835</c:v>
                </c:pt>
                <c:pt idx="47">
                  <c:v>2783</c:v>
                </c:pt>
                <c:pt idx="48">
                  <c:v>3091</c:v>
                </c:pt>
                <c:pt idx="49">
                  <c:v>3343</c:v>
                </c:pt>
                <c:pt idx="50">
                  <c:v>3838</c:v>
                </c:pt>
                <c:pt idx="51">
                  <c:v>4153</c:v>
                </c:pt>
                <c:pt idx="52">
                  <c:v>4698</c:v>
                </c:pt>
                <c:pt idx="53">
                  <c:v>4853</c:v>
                </c:pt>
                <c:pt idx="54">
                  <c:v>4861</c:v>
                </c:pt>
                <c:pt idx="55">
                  <c:v>5201</c:v>
                </c:pt>
                <c:pt idx="56">
                  <c:v>5699</c:v>
                </c:pt>
                <c:pt idx="57">
                  <c:v>5738</c:v>
                </c:pt>
                <c:pt idx="58">
                  <c:v>6571</c:v>
                </c:pt>
                <c:pt idx="59">
                  <c:v>7002</c:v>
                </c:pt>
                <c:pt idx="60">
                  <c:v>7006</c:v>
                </c:pt>
                <c:pt idx="61">
                  <c:v>6739</c:v>
                </c:pt>
                <c:pt idx="62">
                  <c:v>6816</c:v>
                </c:pt>
                <c:pt idx="63">
                  <c:v>6671</c:v>
                </c:pt>
                <c:pt idx="64">
                  <c:v>7068</c:v>
                </c:pt>
                <c:pt idx="65">
                  <c:v>7568</c:v>
                </c:pt>
                <c:pt idx="66">
                  <c:v>7245</c:v>
                </c:pt>
                <c:pt idx="67">
                  <c:v>6647</c:v>
                </c:pt>
                <c:pt idx="68">
                  <c:v>6464</c:v>
                </c:pt>
                <c:pt idx="69">
                  <c:v>6066</c:v>
                </c:pt>
                <c:pt idx="70">
                  <c:v>5804</c:v>
                </c:pt>
                <c:pt idx="71">
                  <c:v>6339</c:v>
                </c:pt>
                <c:pt idx="72">
                  <c:v>6841</c:v>
                </c:pt>
                <c:pt idx="73">
                  <c:v>6791</c:v>
                </c:pt>
                <c:pt idx="74">
                  <c:v>6248</c:v>
                </c:pt>
                <c:pt idx="75">
                  <c:v>5892</c:v>
                </c:pt>
                <c:pt idx="76">
                  <c:v>5861</c:v>
                </c:pt>
                <c:pt idx="77">
                  <c:v>5485</c:v>
                </c:pt>
                <c:pt idx="78">
                  <c:v>5773</c:v>
                </c:pt>
                <c:pt idx="79">
                  <c:v>5996</c:v>
                </c:pt>
                <c:pt idx="80">
                  <c:v>5996</c:v>
                </c:pt>
                <c:pt idx="81">
                  <c:v>5362</c:v>
                </c:pt>
                <c:pt idx="82">
                  <c:v>4902</c:v>
                </c:pt>
                <c:pt idx="83">
                  <c:v>5003</c:v>
                </c:pt>
                <c:pt idx="84">
                  <c:v>4656</c:v>
                </c:pt>
                <c:pt idx="85">
                  <c:v>4674</c:v>
                </c:pt>
                <c:pt idx="86">
                  <c:v>4788</c:v>
                </c:pt>
                <c:pt idx="87">
                  <c:v>4507</c:v>
                </c:pt>
                <c:pt idx="88">
                  <c:v>4438</c:v>
                </c:pt>
                <c:pt idx="89">
                  <c:v>4034</c:v>
                </c:pt>
                <c:pt idx="90">
                  <c:v>3909</c:v>
                </c:pt>
                <c:pt idx="91">
                  <c:v>3716</c:v>
                </c:pt>
                <c:pt idx="92">
                  <c:v>3794</c:v>
                </c:pt>
                <c:pt idx="93">
                  <c:v>3888</c:v>
                </c:pt>
                <c:pt idx="94">
                  <c:v>3712</c:v>
                </c:pt>
                <c:pt idx="95">
                  <c:v>3484</c:v>
                </c:pt>
                <c:pt idx="96">
                  <c:v>3257</c:v>
                </c:pt>
                <c:pt idx="97">
                  <c:v>3269</c:v>
                </c:pt>
                <c:pt idx="98">
                  <c:v>3111</c:v>
                </c:pt>
                <c:pt idx="99">
                  <c:v>3204</c:v>
                </c:pt>
                <c:pt idx="100">
                  <c:v>3300</c:v>
                </c:pt>
                <c:pt idx="101">
                  <c:v>3268</c:v>
                </c:pt>
                <c:pt idx="102">
                  <c:v>3104</c:v>
                </c:pt>
                <c:pt idx="103">
                  <c:v>3017</c:v>
                </c:pt>
                <c:pt idx="104">
                  <c:v>3059</c:v>
                </c:pt>
                <c:pt idx="105">
                  <c:v>3044</c:v>
                </c:pt>
                <c:pt idx="106">
                  <c:v>3113</c:v>
                </c:pt>
                <c:pt idx="107">
                  <c:v>3151</c:v>
                </c:pt>
                <c:pt idx="108">
                  <c:v>3152</c:v>
                </c:pt>
                <c:pt idx="109">
                  <c:v>2967</c:v>
                </c:pt>
                <c:pt idx="110">
                  <c:v>2850</c:v>
                </c:pt>
                <c:pt idx="111">
                  <c:v>2998</c:v>
                </c:pt>
                <c:pt idx="112">
                  <c:v>3057</c:v>
                </c:pt>
                <c:pt idx="113">
                  <c:v>3167</c:v>
                </c:pt>
                <c:pt idx="114">
                  <c:v>3148</c:v>
                </c:pt>
                <c:pt idx="115">
                  <c:v>2994</c:v>
                </c:pt>
                <c:pt idx="116">
                  <c:v>2925</c:v>
                </c:pt>
                <c:pt idx="117">
                  <c:v>2894</c:v>
                </c:pt>
                <c:pt idx="118">
                  <c:v>3050</c:v>
                </c:pt>
                <c:pt idx="119">
                  <c:v>3185</c:v>
                </c:pt>
                <c:pt idx="120">
                  <c:v>3357</c:v>
                </c:pt>
                <c:pt idx="121">
                  <c:v>3505</c:v>
                </c:pt>
                <c:pt idx="122">
                  <c:v>3275</c:v>
                </c:pt>
                <c:pt idx="123">
                  <c:v>3169</c:v>
                </c:pt>
                <c:pt idx="124">
                  <c:v>2936</c:v>
                </c:pt>
                <c:pt idx="125">
                  <c:v>3427</c:v>
                </c:pt>
                <c:pt idx="126">
                  <c:v>3635</c:v>
                </c:pt>
                <c:pt idx="127">
                  <c:v>3798</c:v>
                </c:pt>
                <c:pt idx="128">
                  <c:v>4000</c:v>
                </c:pt>
                <c:pt idx="129">
                  <c:v>3903</c:v>
                </c:pt>
                <c:pt idx="130">
                  <c:v>3654</c:v>
                </c:pt>
                <c:pt idx="131">
                  <c:v>3390</c:v>
                </c:pt>
                <c:pt idx="132">
                  <c:v>3676</c:v>
                </c:pt>
                <c:pt idx="133">
                  <c:v>3824</c:v>
                </c:pt>
                <c:pt idx="134">
                  <c:v>3999</c:v>
                </c:pt>
                <c:pt idx="135">
                  <c:v>4047</c:v>
                </c:pt>
                <c:pt idx="136">
                  <c:v>3820</c:v>
                </c:pt>
                <c:pt idx="137">
                  <c:v>3482</c:v>
                </c:pt>
                <c:pt idx="138">
                  <c:v>3217</c:v>
                </c:pt>
                <c:pt idx="139">
                  <c:v>3154</c:v>
                </c:pt>
                <c:pt idx="140">
                  <c:v>2990</c:v>
                </c:pt>
                <c:pt idx="141">
                  <c:v>3107</c:v>
                </c:pt>
                <c:pt idx="142">
                  <c:v>3205</c:v>
                </c:pt>
                <c:pt idx="143">
                  <c:v>2981</c:v>
                </c:pt>
                <c:pt idx="144">
                  <c:v>2837</c:v>
                </c:pt>
                <c:pt idx="145">
                  <c:v>2627</c:v>
                </c:pt>
                <c:pt idx="146">
                  <c:v>2600</c:v>
                </c:pt>
                <c:pt idx="147">
                  <c:v>2550</c:v>
                </c:pt>
                <c:pt idx="148">
                  <c:v>2628</c:v>
                </c:pt>
                <c:pt idx="149">
                  <c:v>2675</c:v>
                </c:pt>
                <c:pt idx="150">
                  <c:v>2449</c:v>
                </c:pt>
                <c:pt idx="151">
                  <c:v>2340</c:v>
                </c:pt>
                <c:pt idx="152">
                  <c:v>2125</c:v>
                </c:pt>
                <c:pt idx="153">
                  <c:v>2172</c:v>
                </c:pt>
                <c:pt idx="154">
                  <c:v>2185</c:v>
                </c:pt>
                <c:pt idx="155">
                  <c:v>2279</c:v>
                </c:pt>
                <c:pt idx="156">
                  <c:v>2328</c:v>
                </c:pt>
                <c:pt idx="157">
                  <c:v>2246</c:v>
                </c:pt>
                <c:pt idx="158">
                  <c:v>2115</c:v>
                </c:pt>
                <c:pt idx="159">
                  <c:v>2018</c:v>
                </c:pt>
                <c:pt idx="160">
                  <c:v>2056</c:v>
                </c:pt>
                <c:pt idx="161">
                  <c:v>2018</c:v>
                </c:pt>
                <c:pt idx="162">
                  <c:v>2073</c:v>
                </c:pt>
                <c:pt idx="163">
                  <c:v>2144</c:v>
                </c:pt>
                <c:pt idx="164">
                  <c:v>2071</c:v>
                </c:pt>
                <c:pt idx="165">
                  <c:v>1891</c:v>
                </c:pt>
                <c:pt idx="166">
                  <c:v>1748</c:v>
                </c:pt>
                <c:pt idx="167">
                  <c:v>1745</c:v>
                </c:pt>
                <c:pt idx="168">
                  <c:v>1651</c:v>
                </c:pt>
                <c:pt idx="169">
                  <c:v>1649</c:v>
                </c:pt>
                <c:pt idx="170">
                  <c:v>1678</c:v>
                </c:pt>
                <c:pt idx="171">
                  <c:v>1590</c:v>
                </c:pt>
                <c:pt idx="172">
                  <c:v>1489</c:v>
                </c:pt>
                <c:pt idx="173">
                  <c:v>1390</c:v>
                </c:pt>
                <c:pt idx="174">
                  <c:v>1465</c:v>
                </c:pt>
                <c:pt idx="175">
                  <c:v>1452</c:v>
                </c:pt>
                <c:pt idx="176">
                  <c:v>1479</c:v>
                </c:pt>
                <c:pt idx="177">
                  <c:v>1534</c:v>
                </c:pt>
                <c:pt idx="178">
                  <c:v>1500</c:v>
                </c:pt>
                <c:pt idx="179">
                  <c:v>1419</c:v>
                </c:pt>
                <c:pt idx="180">
                  <c:v>1365</c:v>
                </c:pt>
                <c:pt idx="181">
                  <c:v>1437</c:v>
                </c:pt>
                <c:pt idx="182">
                  <c:v>1396</c:v>
                </c:pt>
                <c:pt idx="183">
                  <c:v>1444</c:v>
                </c:pt>
                <c:pt idx="184">
                  <c:v>1463</c:v>
                </c:pt>
                <c:pt idx="185">
                  <c:v>1346</c:v>
                </c:pt>
                <c:pt idx="186">
                  <c:v>1266</c:v>
                </c:pt>
                <c:pt idx="187">
                  <c:v>1190</c:v>
                </c:pt>
                <c:pt idx="188">
                  <c:v>1204</c:v>
                </c:pt>
                <c:pt idx="189">
                  <c:v>1211</c:v>
                </c:pt>
                <c:pt idx="190">
                  <c:v>1272</c:v>
                </c:pt>
                <c:pt idx="191">
                  <c:v>1286</c:v>
                </c:pt>
                <c:pt idx="192">
                  <c:v>1323</c:v>
                </c:pt>
                <c:pt idx="193">
                  <c:v>1330</c:v>
                </c:pt>
                <c:pt idx="194">
                  <c:v>1336</c:v>
                </c:pt>
                <c:pt idx="195">
                  <c:v>1392</c:v>
                </c:pt>
                <c:pt idx="196">
                  <c:v>1290</c:v>
                </c:pt>
                <c:pt idx="197">
                  <c:v>1245</c:v>
                </c:pt>
                <c:pt idx="198">
                  <c:v>1194</c:v>
                </c:pt>
                <c:pt idx="199">
                  <c:v>1174</c:v>
                </c:pt>
                <c:pt idx="200">
                  <c:v>1121</c:v>
                </c:pt>
                <c:pt idx="201">
                  <c:v>1115</c:v>
                </c:pt>
                <c:pt idx="202">
                  <c:v>1144</c:v>
                </c:pt>
                <c:pt idx="203">
                  <c:v>1099</c:v>
                </c:pt>
                <c:pt idx="204">
                  <c:v>1040</c:v>
                </c:pt>
                <c:pt idx="205">
                  <c:v>1008</c:v>
                </c:pt>
                <c:pt idx="206">
                  <c:v>978</c:v>
                </c:pt>
                <c:pt idx="207">
                  <c:v>921</c:v>
                </c:pt>
                <c:pt idx="208">
                  <c:v>912</c:v>
                </c:pt>
                <c:pt idx="209">
                  <c:v>931</c:v>
                </c:pt>
                <c:pt idx="210">
                  <c:v>885</c:v>
                </c:pt>
                <c:pt idx="211">
                  <c:v>849</c:v>
                </c:pt>
                <c:pt idx="212">
                  <c:v>825</c:v>
                </c:pt>
                <c:pt idx="213">
                  <c:v>771</c:v>
                </c:pt>
                <c:pt idx="214">
                  <c:v>745</c:v>
                </c:pt>
                <c:pt idx="215">
                  <c:v>743</c:v>
                </c:pt>
                <c:pt idx="216">
                  <c:v>744</c:v>
                </c:pt>
                <c:pt idx="217">
                  <c:v>700</c:v>
                </c:pt>
                <c:pt idx="218">
                  <c:v>689</c:v>
                </c:pt>
                <c:pt idx="219">
                  <c:v>672</c:v>
                </c:pt>
                <c:pt idx="220">
                  <c:v>637</c:v>
                </c:pt>
                <c:pt idx="221">
                  <c:v>617</c:v>
                </c:pt>
                <c:pt idx="222">
                  <c:v>612</c:v>
                </c:pt>
                <c:pt idx="223">
                  <c:v>617</c:v>
                </c:pt>
                <c:pt idx="224">
                  <c:v>582</c:v>
                </c:pt>
                <c:pt idx="225">
                  <c:v>553</c:v>
                </c:pt>
                <c:pt idx="226">
                  <c:v>537</c:v>
                </c:pt>
                <c:pt idx="227">
                  <c:v>519</c:v>
                </c:pt>
                <c:pt idx="228">
                  <c:v>516</c:v>
                </c:pt>
                <c:pt idx="229">
                  <c:v>514</c:v>
                </c:pt>
                <c:pt idx="230">
                  <c:v>526</c:v>
                </c:pt>
                <c:pt idx="231">
                  <c:v>514</c:v>
                </c:pt>
                <c:pt idx="232">
                  <c:v>484</c:v>
                </c:pt>
                <c:pt idx="233">
                  <c:v>465</c:v>
                </c:pt>
                <c:pt idx="234">
                  <c:v>459</c:v>
                </c:pt>
                <c:pt idx="235">
                  <c:v>446</c:v>
                </c:pt>
                <c:pt idx="236">
                  <c:v>443</c:v>
                </c:pt>
                <c:pt idx="237">
                  <c:v>447</c:v>
                </c:pt>
                <c:pt idx="238">
                  <c:v>443</c:v>
                </c:pt>
                <c:pt idx="239">
                  <c:v>437</c:v>
                </c:pt>
                <c:pt idx="240">
                  <c:v>432</c:v>
                </c:pt>
                <c:pt idx="241">
                  <c:v>429</c:v>
                </c:pt>
                <c:pt idx="242">
                  <c:v>420</c:v>
                </c:pt>
                <c:pt idx="243">
                  <c:v>419</c:v>
                </c:pt>
                <c:pt idx="244">
                  <c:v>421</c:v>
                </c:pt>
                <c:pt idx="245">
                  <c:v>407</c:v>
                </c:pt>
                <c:pt idx="246">
                  <c:v>399</c:v>
                </c:pt>
                <c:pt idx="247">
                  <c:v>394</c:v>
                </c:pt>
                <c:pt idx="248">
                  <c:v>391</c:v>
                </c:pt>
                <c:pt idx="249">
                  <c:v>380</c:v>
                </c:pt>
                <c:pt idx="250">
                  <c:v>381</c:v>
                </c:pt>
                <c:pt idx="251">
                  <c:v>386</c:v>
                </c:pt>
                <c:pt idx="252">
                  <c:v>382</c:v>
                </c:pt>
                <c:pt idx="253">
                  <c:v>375</c:v>
                </c:pt>
                <c:pt idx="254">
                  <c:v>374</c:v>
                </c:pt>
                <c:pt idx="255">
                  <c:v>373</c:v>
                </c:pt>
                <c:pt idx="256">
                  <c:v>368</c:v>
                </c:pt>
                <c:pt idx="257">
                  <c:v>367</c:v>
                </c:pt>
                <c:pt idx="258">
                  <c:v>371</c:v>
                </c:pt>
                <c:pt idx="259">
                  <c:v>368</c:v>
                </c:pt>
                <c:pt idx="260">
                  <c:v>366</c:v>
                </c:pt>
                <c:pt idx="261">
                  <c:v>364</c:v>
                </c:pt>
                <c:pt idx="262">
                  <c:v>363</c:v>
                </c:pt>
                <c:pt idx="263">
                  <c:v>359</c:v>
                </c:pt>
                <c:pt idx="264">
                  <c:v>358</c:v>
                </c:pt>
                <c:pt idx="265">
                  <c:v>361</c:v>
                </c:pt>
                <c:pt idx="266">
                  <c:v>358</c:v>
                </c:pt>
                <c:pt idx="267">
                  <c:v>354</c:v>
                </c:pt>
                <c:pt idx="268">
                  <c:v>351</c:v>
                </c:pt>
                <c:pt idx="269">
                  <c:v>348</c:v>
                </c:pt>
                <c:pt idx="270">
                  <c:v>346</c:v>
                </c:pt>
                <c:pt idx="271">
                  <c:v>343</c:v>
                </c:pt>
                <c:pt idx="272">
                  <c:v>341</c:v>
                </c:pt>
                <c:pt idx="273">
                  <c:v>337</c:v>
                </c:pt>
                <c:pt idx="274">
                  <c:v>337</c:v>
                </c:pt>
                <c:pt idx="275">
                  <c:v>332</c:v>
                </c:pt>
                <c:pt idx="276">
                  <c:v>327</c:v>
                </c:pt>
                <c:pt idx="277">
                  <c:v>326</c:v>
                </c:pt>
                <c:pt idx="278">
                  <c:v>326</c:v>
                </c:pt>
                <c:pt idx="279">
                  <c:v>325</c:v>
                </c:pt>
                <c:pt idx="280">
                  <c:v>323</c:v>
                </c:pt>
                <c:pt idx="281">
                  <c:v>320</c:v>
                </c:pt>
                <c:pt idx="282">
                  <c:v>319</c:v>
                </c:pt>
                <c:pt idx="283">
                  <c:v>320</c:v>
                </c:pt>
                <c:pt idx="284">
                  <c:v>317</c:v>
                </c:pt>
                <c:pt idx="285">
                  <c:v>317</c:v>
                </c:pt>
                <c:pt idx="286">
                  <c:v>317</c:v>
                </c:pt>
                <c:pt idx="287">
                  <c:v>317</c:v>
                </c:pt>
                <c:pt idx="288">
                  <c:v>317</c:v>
                </c:pt>
                <c:pt idx="289">
                  <c:v>316</c:v>
                </c:pt>
                <c:pt idx="290">
                  <c:v>316</c:v>
                </c:pt>
                <c:pt idx="291">
                  <c:v>316</c:v>
                </c:pt>
                <c:pt idx="292">
                  <c:v>316</c:v>
                </c:pt>
                <c:pt idx="293">
                  <c:v>316</c:v>
                </c:pt>
                <c:pt idx="294">
                  <c:v>316</c:v>
                </c:pt>
                <c:pt idx="295">
                  <c:v>317</c:v>
                </c:pt>
                <c:pt idx="296">
                  <c:v>317</c:v>
                </c:pt>
                <c:pt idx="297">
                  <c:v>315</c:v>
                </c:pt>
                <c:pt idx="298">
                  <c:v>315</c:v>
                </c:pt>
                <c:pt idx="299">
                  <c:v>315</c:v>
                </c:pt>
                <c:pt idx="300">
                  <c:v>315</c:v>
                </c:pt>
                <c:pt idx="301">
                  <c:v>315</c:v>
                </c:pt>
                <c:pt idx="302">
                  <c:v>315</c:v>
                </c:pt>
                <c:pt idx="303">
                  <c:v>316</c:v>
                </c:pt>
                <c:pt idx="304">
                  <c:v>314</c:v>
                </c:pt>
                <c:pt idx="305">
                  <c:v>314</c:v>
                </c:pt>
                <c:pt idx="306">
                  <c:v>315</c:v>
                </c:pt>
                <c:pt idx="307">
                  <c:v>315</c:v>
                </c:pt>
                <c:pt idx="308">
                  <c:v>315</c:v>
                </c:pt>
                <c:pt idx="309">
                  <c:v>315</c:v>
                </c:pt>
                <c:pt idx="310">
                  <c:v>314</c:v>
                </c:pt>
                <c:pt idx="311">
                  <c:v>314</c:v>
                </c:pt>
                <c:pt idx="312">
                  <c:v>314</c:v>
                </c:pt>
                <c:pt idx="313">
                  <c:v>315</c:v>
                </c:pt>
                <c:pt idx="314">
                  <c:v>315</c:v>
                </c:pt>
                <c:pt idx="315">
                  <c:v>315</c:v>
                </c:pt>
                <c:pt idx="316">
                  <c:v>315</c:v>
                </c:pt>
                <c:pt idx="317">
                  <c:v>315</c:v>
                </c:pt>
                <c:pt idx="318">
                  <c:v>314</c:v>
                </c:pt>
                <c:pt idx="319">
                  <c:v>314</c:v>
                </c:pt>
                <c:pt idx="320">
                  <c:v>314</c:v>
                </c:pt>
                <c:pt idx="321">
                  <c:v>314</c:v>
                </c:pt>
                <c:pt idx="322">
                  <c:v>313</c:v>
                </c:pt>
                <c:pt idx="323">
                  <c:v>314</c:v>
                </c:pt>
                <c:pt idx="324">
                  <c:v>313</c:v>
                </c:pt>
                <c:pt idx="325">
                  <c:v>313</c:v>
                </c:pt>
                <c:pt idx="326">
                  <c:v>313</c:v>
                </c:pt>
                <c:pt idx="327">
                  <c:v>312</c:v>
                </c:pt>
                <c:pt idx="328">
                  <c:v>311</c:v>
                </c:pt>
                <c:pt idx="329">
                  <c:v>312</c:v>
                </c:pt>
                <c:pt idx="330">
                  <c:v>313</c:v>
                </c:pt>
                <c:pt idx="331">
                  <c:v>313</c:v>
                </c:pt>
                <c:pt idx="332">
                  <c:v>312</c:v>
                </c:pt>
                <c:pt idx="333">
                  <c:v>312</c:v>
                </c:pt>
                <c:pt idx="334">
                  <c:v>312</c:v>
                </c:pt>
                <c:pt idx="335">
                  <c:v>312</c:v>
                </c:pt>
                <c:pt idx="336">
                  <c:v>311</c:v>
                </c:pt>
                <c:pt idx="337">
                  <c:v>311</c:v>
                </c:pt>
                <c:pt idx="338">
                  <c:v>310</c:v>
                </c:pt>
                <c:pt idx="339">
                  <c:v>310</c:v>
                </c:pt>
                <c:pt idx="340">
                  <c:v>310</c:v>
                </c:pt>
                <c:pt idx="341">
                  <c:v>311</c:v>
                </c:pt>
                <c:pt idx="342">
                  <c:v>311</c:v>
                </c:pt>
                <c:pt idx="343">
                  <c:v>310</c:v>
                </c:pt>
                <c:pt idx="344">
                  <c:v>310</c:v>
                </c:pt>
                <c:pt idx="345">
                  <c:v>310</c:v>
                </c:pt>
                <c:pt idx="346">
                  <c:v>310</c:v>
                </c:pt>
                <c:pt idx="347">
                  <c:v>310</c:v>
                </c:pt>
                <c:pt idx="348">
                  <c:v>310</c:v>
                </c:pt>
                <c:pt idx="349">
                  <c:v>311</c:v>
                </c:pt>
                <c:pt idx="350">
                  <c:v>311</c:v>
                </c:pt>
                <c:pt idx="351">
                  <c:v>311</c:v>
                </c:pt>
                <c:pt idx="352">
                  <c:v>312</c:v>
                </c:pt>
                <c:pt idx="353">
                  <c:v>311</c:v>
                </c:pt>
                <c:pt idx="354">
                  <c:v>311</c:v>
                </c:pt>
                <c:pt idx="355">
                  <c:v>311</c:v>
                </c:pt>
                <c:pt idx="356">
                  <c:v>314</c:v>
                </c:pt>
                <c:pt idx="357">
                  <c:v>314</c:v>
                </c:pt>
                <c:pt idx="358">
                  <c:v>314</c:v>
                </c:pt>
                <c:pt idx="359">
                  <c:v>314</c:v>
                </c:pt>
                <c:pt idx="360">
                  <c:v>315</c:v>
                </c:pt>
                <c:pt idx="361">
                  <c:v>314</c:v>
                </c:pt>
                <c:pt idx="362">
                  <c:v>314</c:v>
                </c:pt>
                <c:pt idx="363">
                  <c:v>314</c:v>
                </c:pt>
                <c:pt idx="364">
                  <c:v>314</c:v>
                </c:pt>
                <c:pt idx="365">
                  <c:v>317</c:v>
                </c:pt>
                <c:pt idx="366">
                  <c:v>322</c:v>
                </c:pt>
                <c:pt idx="367">
                  <c:v>325</c:v>
                </c:pt>
                <c:pt idx="368">
                  <c:v>326</c:v>
                </c:pt>
                <c:pt idx="369">
                  <c:v>325</c:v>
                </c:pt>
                <c:pt idx="370">
                  <c:v>330</c:v>
                </c:pt>
                <c:pt idx="371">
                  <c:v>328</c:v>
                </c:pt>
                <c:pt idx="372">
                  <c:v>329</c:v>
                </c:pt>
                <c:pt idx="373">
                  <c:v>330</c:v>
                </c:pt>
                <c:pt idx="374">
                  <c:v>330</c:v>
                </c:pt>
                <c:pt idx="375">
                  <c:v>329</c:v>
                </c:pt>
                <c:pt idx="376">
                  <c:v>328</c:v>
                </c:pt>
                <c:pt idx="377">
                  <c:v>329</c:v>
                </c:pt>
                <c:pt idx="378">
                  <c:v>330</c:v>
                </c:pt>
                <c:pt idx="379">
                  <c:v>329</c:v>
                </c:pt>
                <c:pt idx="380">
                  <c:v>328</c:v>
                </c:pt>
                <c:pt idx="381">
                  <c:v>325</c:v>
                </c:pt>
                <c:pt idx="382">
                  <c:v>323</c:v>
                </c:pt>
                <c:pt idx="383">
                  <c:v>323</c:v>
                </c:pt>
                <c:pt idx="384">
                  <c:v>328</c:v>
                </c:pt>
                <c:pt idx="385">
                  <c:v>328</c:v>
                </c:pt>
                <c:pt idx="386">
                  <c:v>328</c:v>
                </c:pt>
                <c:pt idx="387">
                  <c:v>326</c:v>
                </c:pt>
                <c:pt idx="388">
                  <c:v>326</c:v>
                </c:pt>
                <c:pt idx="389">
                  <c:v>327</c:v>
                </c:pt>
                <c:pt idx="390">
                  <c:v>328</c:v>
                </c:pt>
                <c:pt idx="391">
                  <c:v>334</c:v>
                </c:pt>
                <c:pt idx="392">
                  <c:v>334</c:v>
                </c:pt>
                <c:pt idx="393">
                  <c:v>340</c:v>
                </c:pt>
                <c:pt idx="394">
                  <c:v>341</c:v>
                </c:pt>
                <c:pt idx="395">
                  <c:v>343</c:v>
                </c:pt>
                <c:pt idx="396">
                  <c:v>343</c:v>
                </c:pt>
                <c:pt idx="397">
                  <c:v>343</c:v>
                </c:pt>
                <c:pt idx="398">
                  <c:v>347</c:v>
                </c:pt>
                <c:pt idx="399">
                  <c:v>351</c:v>
                </c:pt>
                <c:pt idx="400">
                  <c:v>359</c:v>
                </c:pt>
                <c:pt idx="401">
                  <c:v>359</c:v>
                </c:pt>
                <c:pt idx="402">
                  <c:v>385</c:v>
                </c:pt>
                <c:pt idx="403">
                  <c:v>386</c:v>
                </c:pt>
                <c:pt idx="404">
                  <c:v>384</c:v>
                </c:pt>
                <c:pt idx="405">
                  <c:v>387</c:v>
                </c:pt>
                <c:pt idx="406">
                  <c:v>383</c:v>
                </c:pt>
                <c:pt idx="407">
                  <c:v>402</c:v>
                </c:pt>
                <c:pt idx="408">
                  <c:v>400</c:v>
                </c:pt>
                <c:pt idx="409">
                  <c:v>405</c:v>
                </c:pt>
                <c:pt idx="410">
                  <c:v>405</c:v>
                </c:pt>
                <c:pt idx="411">
                  <c:v>405</c:v>
                </c:pt>
                <c:pt idx="412">
                  <c:v>421</c:v>
                </c:pt>
                <c:pt idx="413">
                  <c:v>425</c:v>
                </c:pt>
                <c:pt idx="414">
                  <c:v>428</c:v>
                </c:pt>
                <c:pt idx="415">
                  <c:v>431</c:v>
                </c:pt>
                <c:pt idx="416">
                  <c:v>420</c:v>
                </c:pt>
                <c:pt idx="417">
                  <c:v>415</c:v>
                </c:pt>
                <c:pt idx="418">
                  <c:v>416</c:v>
                </c:pt>
                <c:pt idx="419">
                  <c:v>447</c:v>
                </c:pt>
                <c:pt idx="420">
                  <c:v>457</c:v>
                </c:pt>
                <c:pt idx="421">
                  <c:v>479</c:v>
                </c:pt>
                <c:pt idx="422">
                  <c:v>464</c:v>
                </c:pt>
                <c:pt idx="423">
                  <c:v>487</c:v>
                </c:pt>
                <c:pt idx="424">
                  <c:v>490</c:v>
                </c:pt>
                <c:pt idx="425">
                  <c:v>500</c:v>
                </c:pt>
                <c:pt idx="426">
                  <c:v>576</c:v>
                </c:pt>
                <c:pt idx="427">
                  <c:v>596</c:v>
                </c:pt>
                <c:pt idx="428">
                  <c:v>613</c:v>
                </c:pt>
                <c:pt idx="429">
                  <c:v>673</c:v>
                </c:pt>
                <c:pt idx="430">
                  <c:v>710</c:v>
                </c:pt>
                <c:pt idx="431">
                  <c:v>711</c:v>
                </c:pt>
                <c:pt idx="432">
                  <c:v>712</c:v>
                </c:pt>
                <c:pt idx="433">
                  <c:v>782</c:v>
                </c:pt>
                <c:pt idx="434">
                  <c:v>808</c:v>
                </c:pt>
                <c:pt idx="435">
                  <c:v>824</c:v>
                </c:pt>
                <c:pt idx="436">
                  <c:v>858</c:v>
                </c:pt>
                <c:pt idx="437">
                  <c:v>899</c:v>
                </c:pt>
                <c:pt idx="438">
                  <c:v>905</c:v>
                </c:pt>
                <c:pt idx="439">
                  <c:v>916</c:v>
                </c:pt>
                <c:pt idx="440">
                  <c:v>993</c:v>
                </c:pt>
                <c:pt idx="441">
                  <c:v>991</c:v>
                </c:pt>
                <c:pt idx="442">
                  <c:v>976</c:v>
                </c:pt>
                <c:pt idx="443">
                  <c:v>1024</c:v>
                </c:pt>
                <c:pt idx="444">
                  <c:v>1103</c:v>
                </c:pt>
                <c:pt idx="445">
                  <c:v>1093</c:v>
                </c:pt>
                <c:pt idx="446">
                  <c:v>1087</c:v>
                </c:pt>
                <c:pt idx="447">
                  <c:v>1186</c:v>
                </c:pt>
                <c:pt idx="448">
                  <c:v>1176</c:v>
                </c:pt>
                <c:pt idx="449">
                  <c:v>1191</c:v>
                </c:pt>
                <c:pt idx="450">
                  <c:v>1195</c:v>
                </c:pt>
                <c:pt idx="451">
                  <c:v>1233</c:v>
                </c:pt>
                <c:pt idx="452">
                  <c:v>1205</c:v>
                </c:pt>
                <c:pt idx="453">
                  <c:v>1195</c:v>
                </c:pt>
                <c:pt idx="454">
                  <c:v>1253</c:v>
                </c:pt>
                <c:pt idx="455">
                  <c:v>1211</c:v>
                </c:pt>
                <c:pt idx="456">
                  <c:v>1175</c:v>
                </c:pt>
                <c:pt idx="457">
                  <c:v>1187</c:v>
                </c:pt>
                <c:pt idx="458">
                  <c:v>1040</c:v>
                </c:pt>
                <c:pt idx="459">
                  <c:v>1025</c:v>
                </c:pt>
                <c:pt idx="460">
                  <c:v>994</c:v>
                </c:pt>
                <c:pt idx="461">
                  <c:v>1041</c:v>
                </c:pt>
                <c:pt idx="462">
                  <c:v>977</c:v>
                </c:pt>
                <c:pt idx="463">
                  <c:v>932</c:v>
                </c:pt>
                <c:pt idx="464">
                  <c:v>894</c:v>
                </c:pt>
                <c:pt idx="465">
                  <c:v>834</c:v>
                </c:pt>
                <c:pt idx="466">
                  <c:v>787</c:v>
                </c:pt>
                <c:pt idx="467">
                  <c:v>777</c:v>
                </c:pt>
                <c:pt idx="468">
                  <c:v>785</c:v>
                </c:pt>
                <c:pt idx="469">
                  <c:v>745</c:v>
                </c:pt>
                <c:pt idx="470">
                  <c:v>711</c:v>
                </c:pt>
                <c:pt idx="471">
                  <c:v>676</c:v>
                </c:pt>
                <c:pt idx="472">
                  <c:v>647</c:v>
                </c:pt>
                <c:pt idx="473">
                  <c:v>556</c:v>
                </c:pt>
                <c:pt idx="474">
                  <c:v>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C$2:$C$102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0</c:v>
                </c:pt>
                <c:pt idx="34">
                  <c:v>1</c:v>
                </c:pt>
                <c:pt idx="35">
                  <c:v>0</c:v>
                </c:pt>
                <c:pt idx="36">
                  <c:v>3</c:v>
                </c:pt>
                <c:pt idx="37">
                  <c:v>1</c:v>
                </c:pt>
                <c:pt idx="38">
                  <c:v>3</c:v>
                </c:pt>
                <c:pt idx="39">
                  <c:v>0</c:v>
                </c:pt>
                <c:pt idx="40">
                  <c:v>2</c:v>
                </c:pt>
                <c:pt idx="41">
                  <c:v>2</c:v>
                </c:pt>
                <c:pt idx="42">
                  <c:v>0</c:v>
                </c:pt>
                <c:pt idx="43">
                  <c:v>1</c:v>
                </c:pt>
                <c:pt idx="44">
                  <c:v>2</c:v>
                </c:pt>
                <c:pt idx="45">
                  <c:v>5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5</c:v>
                </c:pt>
                <c:pt idx="50">
                  <c:v>3</c:v>
                </c:pt>
                <c:pt idx="51">
                  <c:v>3</c:v>
                </c:pt>
                <c:pt idx="52">
                  <c:v>6</c:v>
                </c:pt>
                <c:pt idx="53">
                  <c:v>3</c:v>
                </c:pt>
                <c:pt idx="54">
                  <c:v>11</c:v>
                </c:pt>
                <c:pt idx="55">
                  <c:v>10</c:v>
                </c:pt>
                <c:pt idx="56">
                  <c:v>16</c:v>
                </c:pt>
                <c:pt idx="57">
                  <c:v>9</c:v>
                </c:pt>
                <c:pt idx="58">
                  <c:v>16</c:v>
                </c:pt>
                <c:pt idx="59">
                  <c:v>19</c:v>
                </c:pt>
                <c:pt idx="60">
                  <c:v>20</c:v>
                </c:pt>
                <c:pt idx="61">
                  <c:v>23</c:v>
                </c:pt>
                <c:pt idx="62">
                  <c:v>31</c:v>
                </c:pt>
                <c:pt idx="63">
                  <c:v>29</c:v>
                </c:pt>
                <c:pt idx="64">
                  <c:v>41</c:v>
                </c:pt>
                <c:pt idx="65">
                  <c:v>47</c:v>
                </c:pt>
                <c:pt idx="66">
                  <c:v>34</c:v>
                </c:pt>
                <c:pt idx="67">
                  <c:v>52</c:v>
                </c:pt>
                <c:pt idx="68">
                  <c:v>61</c:v>
                </c:pt>
                <c:pt idx="69">
                  <c:v>79</c:v>
                </c:pt>
                <c:pt idx="70">
                  <c:v>66</c:v>
                </c:pt>
                <c:pt idx="71">
                  <c:v>85</c:v>
                </c:pt>
                <c:pt idx="72">
                  <c:v>85</c:v>
                </c:pt>
                <c:pt idx="73">
                  <c:v>101</c:v>
                </c:pt>
                <c:pt idx="74">
                  <c:v>109</c:v>
                </c:pt>
                <c:pt idx="75">
                  <c:v>112</c:v>
                </c:pt>
                <c:pt idx="76">
                  <c:v>126</c:v>
                </c:pt>
                <c:pt idx="77">
                  <c:v>107</c:v>
                </c:pt>
                <c:pt idx="78">
                  <c:v>131</c:v>
                </c:pt>
                <c:pt idx="79">
                  <c:v>137</c:v>
                </c:pt>
                <c:pt idx="80">
                  <c:v>155</c:v>
                </c:pt>
                <c:pt idx="81">
                  <c:v>182</c:v>
                </c:pt>
                <c:pt idx="82">
                  <c:v>158</c:v>
                </c:pt>
                <c:pt idx="83">
                  <c:v>195</c:v>
                </c:pt>
                <c:pt idx="84">
                  <c:v>196</c:v>
                </c:pt>
                <c:pt idx="85">
                  <c:v>178</c:v>
                </c:pt>
                <c:pt idx="86">
                  <c:v>176</c:v>
                </c:pt>
                <c:pt idx="87">
                  <c:v>154</c:v>
                </c:pt>
                <c:pt idx="88">
                  <c:v>103</c:v>
                </c:pt>
                <c:pt idx="89">
                  <c:v>89</c:v>
                </c:pt>
                <c:pt idx="90">
                  <c:v>63</c:v>
                </c:pt>
                <c:pt idx="91">
                  <c:v>59</c:v>
                </c:pt>
                <c:pt idx="92">
                  <c:v>51</c:v>
                </c:pt>
                <c:pt idx="93">
                  <c:v>28</c:v>
                </c:pt>
                <c:pt idx="94">
                  <c:v>22</c:v>
                </c:pt>
                <c:pt idx="95">
                  <c:v>9</c:v>
                </c:pt>
                <c:pt idx="96">
                  <c:v>5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9</c:v>
                </c:pt>
                <c:pt idx="5">
                  <c:v>2</c:v>
                </c:pt>
                <c:pt idx="6">
                  <c:v>14</c:v>
                </c:pt>
                <c:pt idx="7">
                  <c:v>12</c:v>
                </c:pt>
                <c:pt idx="8">
                  <c:v>18</c:v>
                </c:pt>
                <c:pt idx="9">
                  <c:v>18</c:v>
                </c:pt>
                <c:pt idx="10">
                  <c:v>12</c:v>
                </c:pt>
                <c:pt idx="11">
                  <c:v>28</c:v>
                </c:pt>
                <c:pt idx="12">
                  <c:v>13</c:v>
                </c:pt>
                <c:pt idx="13">
                  <c:v>22</c:v>
                </c:pt>
                <c:pt idx="14">
                  <c:v>22</c:v>
                </c:pt>
                <c:pt idx="15">
                  <c:v>33</c:v>
                </c:pt>
                <c:pt idx="16">
                  <c:v>25</c:v>
                </c:pt>
                <c:pt idx="17">
                  <c:v>24</c:v>
                </c:pt>
                <c:pt idx="18">
                  <c:v>35</c:v>
                </c:pt>
                <c:pt idx="19">
                  <c:v>44</c:v>
                </c:pt>
                <c:pt idx="20">
                  <c:v>50</c:v>
                </c:pt>
                <c:pt idx="21">
                  <c:v>57</c:v>
                </c:pt>
                <c:pt idx="22">
                  <c:v>54</c:v>
                </c:pt>
                <c:pt idx="23">
                  <c:v>72</c:v>
                </c:pt>
                <c:pt idx="24">
                  <c:v>61</c:v>
                </c:pt>
                <c:pt idx="25">
                  <c:v>70</c:v>
                </c:pt>
                <c:pt idx="26">
                  <c:v>78</c:v>
                </c:pt>
                <c:pt idx="27">
                  <c:v>76</c:v>
                </c:pt>
                <c:pt idx="28">
                  <c:v>81</c:v>
                </c:pt>
                <c:pt idx="29">
                  <c:v>94</c:v>
                </c:pt>
                <c:pt idx="30">
                  <c:v>84</c:v>
                </c:pt>
                <c:pt idx="31">
                  <c:v>78</c:v>
                </c:pt>
                <c:pt idx="32">
                  <c:v>91</c:v>
                </c:pt>
                <c:pt idx="33">
                  <c:v>120</c:v>
                </c:pt>
                <c:pt idx="34">
                  <c:v>101</c:v>
                </c:pt>
                <c:pt idx="35">
                  <c:v>123</c:v>
                </c:pt>
                <c:pt idx="36">
                  <c:v>141</c:v>
                </c:pt>
                <c:pt idx="37">
                  <c:v>125</c:v>
                </c:pt>
                <c:pt idx="38">
                  <c:v>129</c:v>
                </c:pt>
                <c:pt idx="39">
                  <c:v>147</c:v>
                </c:pt>
                <c:pt idx="40">
                  <c:v>144</c:v>
                </c:pt>
                <c:pt idx="41">
                  <c:v>144</c:v>
                </c:pt>
                <c:pt idx="42">
                  <c:v>149</c:v>
                </c:pt>
                <c:pt idx="43">
                  <c:v>128</c:v>
                </c:pt>
                <c:pt idx="44">
                  <c:v>134</c:v>
                </c:pt>
                <c:pt idx="45">
                  <c:v>134</c:v>
                </c:pt>
                <c:pt idx="46">
                  <c:v>162</c:v>
                </c:pt>
                <c:pt idx="47">
                  <c:v>123</c:v>
                </c:pt>
                <c:pt idx="48">
                  <c:v>139</c:v>
                </c:pt>
                <c:pt idx="49">
                  <c:v>161</c:v>
                </c:pt>
                <c:pt idx="50">
                  <c:v>181</c:v>
                </c:pt>
                <c:pt idx="51">
                  <c:v>166</c:v>
                </c:pt>
                <c:pt idx="52">
                  <c:v>163</c:v>
                </c:pt>
                <c:pt idx="53">
                  <c:v>143</c:v>
                </c:pt>
                <c:pt idx="54">
                  <c:v>184</c:v>
                </c:pt>
                <c:pt idx="55">
                  <c:v>204</c:v>
                </c:pt>
                <c:pt idx="56">
                  <c:v>209</c:v>
                </c:pt>
                <c:pt idx="57">
                  <c:v>217</c:v>
                </c:pt>
                <c:pt idx="58">
                  <c:v>255</c:v>
                </c:pt>
                <c:pt idx="59">
                  <c:v>294</c:v>
                </c:pt>
                <c:pt idx="60">
                  <c:v>276</c:v>
                </c:pt>
                <c:pt idx="61">
                  <c:v>305</c:v>
                </c:pt>
                <c:pt idx="62">
                  <c:v>322</c:v>
                </c:pt>
                <c:pt idx="63">
                  <c:v>342</c:v>
                </c:pt>
                <c:pt idx="64">
                  <c:v>421</c:v>
                </c:pt>
                <c:pt idx="65">
                  <c:v>430</c:v>
                </c:pt>
                <c:pt idx="66">
                  <c:v>436</c:v>
                </c:pt>
                <c:pt idx="67">
                  <c:v>533</c:v>
                </c:pt>
                <c:pt idx="68">
                  <c:v>572</c:v>
                </c:pt>
                <c:pt idx="69">
                  <c:v>604</c:v>
                </c:pt>
                <c:pt idx="70">
                  <c:v>551</c:v>
                </c:pt>
                <c:pt idx="71">
                  <c:v>699</c:v>
                </c:pt>
                <c:pt idx="72">
                  <c:v>712</c:v>
                </c:pt>
                <c:pt idx="73">
                  <c:v>751</c:v>
                </c:pt>
                <c:pt idx="74">
                  <c:v>813</c:v>
                </c:pt>
                <c:pt idx="75">
                  <c:v>867</c:v>
                </c:pt>
                <c:pt idx="76">
                  <c:v>862</c:v>
                </c:pt>
                <c:pt idx="77">
                  <c:v>891</c:v>
                </c:pt>
                <c:pt idx="78">
                  <c:v>1001</c:v>
                </c:pt>
                <c:pt idx="79">
                  <c:v>963</c:v>
                </c:pt>
                <c:pt idx="80">
                  <c:v>1111</c:v>
                </c:pt>
                <c:pt idx="81">
                  <c:v>1148</c:v>
                </c:pt>
                <c:pt idx="82">
                  <c:v>1172</c:v>
                </c:pt>
                <c:pt idx="83">
                  <c:v>1254</c:v>
                </c:pt>
                <c:pt idx="84">
                  <c:v>1188</c:v>
                </c:pt>
                <c:pt idx="85">
                  <c:v>1162</c:v>
                </c:pt>
                <c:pt idx="86">
                  <c:v>1005</c:v>
                </c:pt>
                <c:pt idx="87">
                  <c:v>893</c:v>
                </c:pt>
                <c:pt idx="88">
                  <c:v>729</c:v>
                </c:pt>
                <c:pt idx="89">
                  <c:v>517</c:v>
                </c:pt>
                <c:pt idx="90">
                  <c:v>407</c:v>
                </c:pt>
                <c:pt idx="91">
                  <c:v>308</c:v>
                </c:pt>
                <c:pt idx="92">
                  <c:v>230</c:v>
                </c:pt>
                <c:pt idx="93">
                  <c:v>149</c:v>
                </c:pt>
                <c:pt idx="94">
                  <c:v>88</c:v>
                </c:pt>
                <c:pt idx="95">
                  <c:v>44</c:v>
                </c:pt>
                <c:pt idx="96">
                  <c:v>28</c:v>
                </c:pt>
                <c:pt idx="97">
                  <c:v>7</c:v>
                </c:pt>
                <c:pt idx="98">
                  <c:v>5</c:v>
                </c:pt>
                <c:pt idx="99">
                  <c:v>3</c:v>
                </c:pt>
                <c:pt idx="10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Sheet1!$B$2:$B$476</c:f>
              <c:numCache>
                <c:formatCode>#\ ##0_ ;\-#\ ##0\ </c:formatCode>
                <c:ptCount val="475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2</c:v>
                </c:pt>
                <c:pt idx="43">
                  <c:v>181</c:v>
                </c:pt>
                <c:pt idx="44">
                  <c:v>195</c:v>
                </c:pt>
                <c:pt idx="45">
                  <c:v>205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200</c:v>
                </c:pt>
                <c:pt idx="50">
                  <c:v>326</c:v>
                </c:pt>
                <c:pt idx="51">
                  <c:v>228</c:v>
                </c:pt>
                <c:pt idx="52">
                  <c:v>416</c:v>
                </c:pt>
                <c:pt idx="53">
                  <c:v>227</c:v>
                </c:pt>
                <c:pt idx="54">
                  <c:v>195</c:v>
                </c:pt>
                <c:pt idx="55">
                  <c:v>387</c:v>
                </c:pt>
                <c:pt idx="56">
                  <c:v>522</c:v>
                </c:pt>
                <c:pt idx="57">
                  <c:v>260</c:v>
                </c:pt>
                <c:pt idx="58">
                  <c:v>538</c:v>
                </c:pt>
                <c:pt idx="59">
                  <c:v>587</c:v>
                </c:pt>
                <c:pt idx="60">
                  <c:v>337</c:v>
                </c:pt>
                <c:pt idx="61">
                  <c:v>212</c:v>
                </c:pt>
                <c:pt idx="62">
                  <c:v>331</c:v>
                </c:pt>
                <c:pt idx="63">
                  <c:v>332</c:v>
                </c:pt>
                <c:pt idx="64">
                  <c:v>424</c:v>
                </c:pt>
                <c:pt idx="65">
                  <c:v>533</c:v>
                </c:pt>
                <c:pt idx="66">
                  <c:v>488</c:v>
                </c:pt>
                <c:pt idx="67">
                  <c:v>214</c:v>
                </c:pt>
                <c:pt idx="68">
                  <c:v>78</c:v>
                </c:pt>
                <c:pt idx="69">
                  <c:v>204</c:v>
                </c:pt>
                <c:pt idx="70">
                  <c:v>385</c:v>
                </c:pt>
                <c:pt idx="71">
                  <c:v>677</c:v>
                </c:pt>
                <c:pt idx="72">
                  <c:v>498</c:v>
                </c:pt>
                <c:pt idx="73">
                  <c:v>481</c:v>
                </c:pt>
                <c:pt idx="74">
                  <c:v>180</c:v>
                </c:pt>
                <c:pt idx="75">
                  <c:v>164</c:v>
                </c:pt>
                <c:pt idx="76">
                  <c:v>382</c:v>
                </c:pt>
                <c:pt idx="77">
                  <c:v>138</c:v>
                </c:pt>
                <c:pt idx="78">
                  <c:v>266</c:v>
                </c:pt>
                <c:pt idx="79">
                  <c:v>269</c:v>
                </c:pt>
                <c:pt idx="80">
                  <c:v>239</c:v>
                </c:pt>
                <c:pt idx="81">
                  <c:v>94</c:v>
                </c:pt>
                <c:pt idx="82">
                  <c:v>91</c:v>
                </c:pt>
                <c:pt idx="83">
                  <c:v>378</c:v>
                </c:pt>
                <c:pt idx="84">
                  <c:v>198</c:v>
                </c:pt>
                <c:pt idx="85">
                  <c:v>125</c:v>
                </c:pt>
                <c:pt idx="86">
                  <c:v>194</c:v>
                </c:pt>
                <c:pt idx="87">
                  <c:v>139</c:v>
                </c:pt>
                <c:pt idx="88">
                  <c:v>78</c:v>
                </c:pt>
                <c:pt idx="89">
                  <c:v>28</c:v>
                </c:pt>
                <c:pt idx="90">
                  <c:v>213</c:v>
                </c:pt>
                <c:pt idx="91">
                  <c:v>123</c:v>
                </c:pt>
                <c:pt idx="92">
                  <c:v>132</c:v>
                </c:pt>
                <c:pt idx="93">
                  <c:v>128</c:v>
                </c:pt>
                <c:pt idx="94">
                  <c:v>142</c:v>
                </c:pt>
                <c:pt idx="95">
                  <c:v>88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1</c:v>
                </c:pt>
                <c:pt idx="100">
                  <c:v>83</c:v>
                </c:pt>
                <c:pt idx="101">
                  <c:v>230</c:v>
                </c:pt>
                <c:pt idx="102">
                  <c:v>67</c:v>
                </c:pt>
                <c:pt idx="103">
                  <c:v>49</c:v>
                </c:pt>
                <c:pt idx="104">
                  <c:v>148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22</c:v>
                </c:pt>
                <c:pt idx="109">
                  <c:v>61</c:v>
                </c:pt>
                <c:pt idx="110">
                  <c:v>21</c:v>
                </c:pt>
                <c:pt idx="111">
                  <c:v>178</c:v>
                </c:pt>
                <c:pt idx="112">
                  <c:v>176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8</c:v>
                </c:pt>
                <c:pt idx="118">
                  <c:v>165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59</c:v>
                </c:pt>
                <c:pt idx="124">
                  <c:v>41</c:v>
                </c:pt>
                <c:pt idx="125">
                  <c:v>269</c:v>
                </c:pt>
                <c:pt idx="126">
                  <c:v>152</c:v>
                </c:pt>
                <c:pt idx="127">
                  <c:v>160</c:v>
                </c:pt>
                <c:pt idx="128">
                  <c:v>232</c:v>
                </c:pt>
                <c:pt idx="129">
                  <c:v>185</c:v>
                </c:pt>
                <c:pt idx="130">
                  <c:v>61</c:v>
                </c:pt>
                <c:pt idx="131">
                  <c:v>31</c:v>
                </c:pt>
                <c:pt idx="132">
                  <c:v>238</c:v>
                </c:pt>
                <c:pt idx="133">
                  <c:v>126</c:v>
                </c:pt>
                <c:pt idx="134">
                  <c:v>175</c:v>
                </c:pt>
                <c:pt idx="135">
                  <c:v>97</c:v>
                </c:pt>
                <c:pt idx="136">
                  <c:v>86</c:v>
                </c:pt>
                <c:pt idx="137">
                  <c:v>35</c:v>
                </c:pt>
                <c:pt idx="138">
                  <c:v>45</c:v>
                </c:pt>
                <c:pt idx="139">
                  <c:v>161</c:v>
                </c:pt>
                <c:pt idx="140">
                  <c:v>79</c:v>
                </c:pt>
                <c:pt idx="141">
                  <c:v>146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5</c:v>
                </c:pt>
                <c:pt idx="146">
                  <c:v>84</c:v>
                </c:pt>
                <c:pt idx="147">
                  <c:v>41</c:v>
                </c:pt>
                <c:pt idx="148">
                  <c:v>95</c:v>
                </c:pt>
                <c:pt idx="149">
                  <c:v>66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5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2</c:v>
                </c:pt>
                <c:pt idx="159">
                  <c:v>16</c:v>
                </c:pt>
                <c:pt idx="160">
                  <c:v>65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7</c:v>
                </c:pt>
                <c:pt idx="169">
                  <c:v>30</c:v>
                </c:pt>
                <c:pt idx="170">
                  <c:v>27</c:v>
                </c:pt>
                <c:pt idx="171">
                  <c:v>27</c:v>
                </c:pt>
                <c:pt idx="172">
                  <c:v>18</c:v>
                </c:pt>
                <c:pt idx="173">
                  <c:v>5</c:v>
                </c:pt>
                <c:pt idx="174">
                  <c:v>89</c:v>
                </c:pt>
                <c:pt idx="175">
                  <c:v>35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9</c:v>
                </c:pt>
                <c:pt idx="185">
                  <c:v>23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77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7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4</c:v>
                </c:pt>
                <c:pt idx="203">
                  <c:v>28</c:v>
                </c:pt>
                <c:pt idx="204">
                  <c:v>19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0</c:v>
                </c:pt>
                <c:pt idx="211">
                  <c:v>9</c:v>
                </c:pt>
                <c:pt idx="212">
                  <c:v>9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4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4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3</c:v>
                </c:pt>
                <c:pt idx="428">
                  <c:v>16</c:v>
                </c:pt>
                <c:pt idx="429">
                  <c:v>52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29</c:v>
                </c:pt>
                <c:pt idx="434">
                  <c:v>29</c:v>
                </c:pt>
                <c:pt idx="435">
                  <c:v>15</c:v>
                </c:pt>
                <c:pt idx="436">
                  <c:v>18</c:v>
                </c:pt>
                <c:pt idx="437">
                  <c:v>17</c:v>
                </c:pt>
                <c:pt idx="438">
                  <c:v>13</c:v>
                </c:pt>
                <c:pt idx="439">
                  <c:v>14</c:v>
                </c:pt>
                <c:pt idx="440">
                  <c:v>43</c:v>
                </c:pt>
                <c:pt idx="441">
                  <c:v>32</c:v>
                </c:pt>
                <c:pt idx="442">
                  <c:v>23</c:v>
                </c:pt>
                <c:pt idx="443">
                  <c:v>55</c:v>
                </c:pt>
                <c:pt idx="444">
                  <c:v>84</c:v>
                </c:pt>
                <c:pt idx="445">
                  <c:v>26</c:v>
                </c:pt>
                <c:pt idx="446">
                  <c:v>9</c:v>
                </c:pt>
                <c:pt idx="447">
                  <c:v>48</c:v>
                </c:pt>
                <c:pt idx="448">
                  <c:v>23</c:v>
                </c:pt>
                <c:pt idx="449">
                  <c:v>41</c:v>
                </c:pt>
                <c:pt idx="450">
                  <c:v>30</c:v>
                </c:pt>
                <c:pt idx="451">
                  <c:v>52</c:v>
                </c:pt>
                <c:pt idx="452">
                  <c:v>5</c:v>
                </c:pt>
                <c:pt idx="453">
                  <c:v>7</c:v>
                </c:pt>
                <c:pt idx="454">
                  <c:v>38</c:v>
                </c:pt>
                <c:pt idx="455">
                  <c:v>13</c:v>
                </c:pt>
                <c:pt idx="456">
                  <c:v>30</c:v>
                </c:pt>
                <c:pt idx="457">
                  <c:v>28</c:v>
                </c:pt>
                <c:pt idx="458">
                  <c:v>14</c:v>
                </c:pt>
                <c:pt idx="459">
                  <c:v>38</c:v>
                </c:pt>
                <c:pt idx="460">
                  <c:v>5</c:v>
                </c:pt>
                <c:pt idx="461">
                  <c:v>26</c:v>
                </c:pt>
                <c:pt idx="462">
                  <c:v>22</c:v>
                </c:pt>
                <c:pt idx="463">
                  <c:v>12</c:v>
                </c:pt>
                <c:pt idx="464">
                  <c:v>30</c:v>
                </c:pt>
                <c:pt idx="465">
                  <c:v>26</c:v>
                </c:pt>
                <c:pt idx="466">
                  <c:v>5</c:v>
                </c:pt>
                <c:pt idx="467">
                  <c:v>1</c:v>
                </c:pt>
                <c:pt idx="468">
                  <c:v>10</c:v>
                </c:pt>
                <c:pt idx="469">
                  <c:v>26</c:v>
                </c:pt>
                <c:pt idx="470">
                  <c:v>13</c:v>
                </c:pt>
                <c:pt idx="471">
                  <c:v>14</c:v>
                </c:pt>
                <c:pt idx="472">
                  <c:v>21</c:v>
                </c:pt>
                <c:pt idx="473">
                  <c:v>2</c:v>
                </c:pt>
                <c:pt idx="47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Sheet1!$B$2:$B$476</c:f>
              <c:numCache>
                <c:formatCode>#\ ##0_ ;\-#\ ##0\ </c:formatCode>
                <c:ptCount val="47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3</c:v>
                </c:pt>
                <c:pt idx="29">
                  <c:v>10</c:v>
                </c:pt>
                <c:pt idx="30">
                  <c:v>30</c:v>
                </c:pt>
                <c:pt idx="31">
                  <c:v>95</c:v>
                </c:pt>
                <c:pt idx="32">
                  <c:v>31</c:v>
                </c:pt>
                <c:pt idx="33">
                  <c:v>30</c:v>
                </c:pt>
                <c:pt idx="34">
                  <c:v>90</c:v>
                </c:pt>
                <c:pt idx="35">
                  <c:v>46</c:v>
                </c:pt>
                <c:pt idx="36">
                  <c:v>42</c:v>
                </c:pt>
                <c:pt idx="37">
                  <c:v>84</c:v>
                </c:pt>
                <c:pt idx="38">
                  <c:v>87</c:v>
                </c:pt>
                <c:pt idx="39">
                  <c:v>51</c:v>
                </c:pt>
                <c:pt idx="40">
                  <c:v>25</c:v>
                </c:pt>
                <c:pt idx="41">
                  <c:v>160</c:v>
                </c:pt>
                <c:pt idx="42">
                  <c:v>155</c:v>
                </c:pt>
                <c:pt idx="43">
                  <c:v>192</c:v>
                </c:pt>
                <c:pt idx="44">
                  <c:v>199</c:v>
                </c:pt>
                <c:pt idx="45">
                  <c:v>211</c:v>
                </c:pt>
                <c:pt idx="46">
                  <c:v>104</c:v>
                </c:pt>
                <c:pt idx="47">
                  <c:v>48</c:v>
                </c:pt>
                <c:pt idx="48">
                  <c:v>192</c:v>
                </c:pt>
                <c:pt idx="49">
                  <c:v>193</c:v>
                </c:pt>
                <c:pt idx="50">
                  <c:v>258</c:v>
                </c:pt>
                <c:pt idx="51">
                  <c:v>235</c:v>
                </c:pt>
                <c:pt idx="52">
                  <c:v>334</c:v>
                </c:pt>
                <c:pt idx="53">
                  <c:v>187</c:v>
                </c:pt>
                <c:pt idx="54">
                  <c:v>90</c:v>
                </c:pt>
                <c:pt idx="55">
                  <c:v>375</c:v>
                </c:pt>
                <c:pt idx="56">
                  <c:v>396</c:v>
                </c:pt>
                <c:pt idx="57">
                  <c:v>134</c:v>
                </c:pt>
                <c:pt idx="58">
                  <c:v>470</c:v>
                </c:pt>
                <c:pt idx="59">
                  <c:v>333</c:v>
                </c:pt>
                <c:pt idx="60">
                  <c:v>184</c:v>
                </c:pt>
                <c:pt idx="61">
                  <c:v>116</c:v>
                </c:pt>
                <c:pt idx="62">
                  <c:v>298</c:v>
                </c:pt>
                <c:pt idx="63">
                  <c:v>231</c:v>
                </c:pt>
                <c:pt idx="64">
                  <c:v>329</c:v>
                </c:pt>
                <c:pt idx="65">
                  <c:v>279</c:v>
                </c:pt>
                <c:pt idx="66">
                  <c:v>240</c:v>
                </c:pt>
                <c:pt idx="67">
                  <c:v>117</c:v>
                </c:pt>
                <c:pt idx="68">
                  <c:v>48</c:v>
                </c:pt>
                <c:pt idx="69">
                  <c:v>197</c:v>
                </c:pt>
                <c:pt idx="70">
                  <c:v>205</c:v>
                </c:pt>
                <c:pt idx="71">
                  <c:v>262</c:v>
                </c:pt>
                <c:pt idx="72">
                  <c:v>230</c:v>
                </c:pt>
                <c:pt idx="73">
                  <c:v>204</c:v>
                </c:pt>
                <c:pt idx="74">
                  <c:v>73</c:v>
                </c:pt>
                <c:pt idx="75">
                  <c:v>30</c:v>
                </c:pt>
                <c:pt idx="76">
                  <c:v>179</c:v>
                </c:pt>
                <c:pt idx="77">
                  <c:v>46</c:v>
                </c:pt>
                <c:pt idx="78">
                  <c:v>162</c:v>
                </c:pt>
                <c:pt idx="79">
                  <c:v>129</c:v>
                </c:pt>
                <c:pt idx="80">
                  <c:v>120</c:v>
                </c:pt>
                <c:pt idx="81">
                  <c:v>36</c:v>
                </c:pt>
                <c:pt idx="82">
                  <c:v>17</c:v>
                </c:pt>
                <c:pt idx="83">
                  <c:v>139</c:v>
                </c:pt>
                <c:pt idx="84">
                  <c:v>107</c:v>
                </c:pt>
                <c:pt idx="85">
                  <c:v>94</c:v>
                </c:pt>
                <c:pt idx="86">
                  <c:v>55</c:v>
                </c:pt>
                <c:pt idx="87">
                  <c:v>80</c:v>
                </c:pt>
                <c:pt idx="88">
                  <c:v>23</c:v>
                </c:pt>
                <c:pt idx="89">
                  <c:v>15</c:v>
                </c:pt>
                <c:pt idx="90">
                  <c:v>105</c:v>
                </c:pt>
                <c:pt idx="91">
                  <c:v>85</c:v>
                </c:pt>
                <c:pt idx="92">
                  <c:v>66</c:v>
                </c:pt>
                <c:pt idx="93">
                  <c:v>58</c:v>
                </c:pt>
                <c:pt idx="94">
                  <c:v>89</c:v>
                </c:pt>
                <c:pt idx="95">
                  <c:v>40</c:v>
                </c:pt>
                <c:pt idx="96">
                  <c:v>25</c:v>
                </c:pt>
                <c:pt idx="97">
                  <c:v>120</c:v>
                </c:pt>
                <c:pt idx="98">
                  <c:v>76</c:v>
                </c:pt>
                <c:pt idx="99">
                  <c:v>63</c:v>
                </c:pt>
                <c:pt idx="100">
                  <c:v>59</c:v>
                </c:pt>
                <c:pt idx="101">
                  <c:v>77</c:v>
                </c:pt>
                <c:pt idx="102">
                  <c:v>21</c:v>
                </c:pt>
                <c:pt idx="103">
                  <c:v>17</c:v>
                </c:pt>
                <c:pt idx="104">
                  <c:v>128</c:v>
                </c:pt>
                <c:pt idx="105">
                  <c:v>71</c:v>
                </c:pt>
                <c:pt idx="106">
                  <c:v>95</c:v>
                </c:pt>
                <c:pt idx="107">
                  <c:v>51</c:v>
                </c:pt>
                <c:pt idx="108">
                  <c:v>83</c:v>
                </c:pt>
                <c:pt idx="109">
                  <c:v>27</c:v>
                </c:pt>
                <c:pt idx="110">
                  <c:v>27</c:v>
                </c:pt>
                <c:pt idx="111">
                  <c:v>158</c:v>
                </c:pt>
                <c:pt idx="112">
                  <c:v>111</c:v>
                </c:pt>
                <c:pt idx="113">
                  <c:v>116</c:v>
                </c:pt>
                <c:pt idx="114">
                  <c:v>28</c:v>
                </c:pt>
                <c:pt idx="115">
                  <c:v>45</c:v>
                </c:pt>
                <c:pt idx="116">
                  <c:v>49</c:v>
                </c:pt>
                <c:pt idx="117">
                  <c:v>46</c:v>
                </c:pt>
                <c:pt idx="118">
                  <c:v>190</c:v>
                </c:pt>
                <c:pt idx="119">
                  <c:v>147</c:v>
                </c:pt>
                <c:pt idx="120">
                  <c:v>111</c:v>
                </c:pt>
                <c:pt idx="121">
                  <c:v>85</c:v>
                </c:pt>
                <c:pt idx="122">
                  <c:v>28</c:v>
                </c:pt>
                <c:pt idx="123">
                  <c:v>59</c:v>
                </c:pt>
                <c:pt idx="124">
                  <c:v>35</c:v>
                </c:pt>
                <c:pt idx="125">
                  <c:v>275</c:v>
                </c:pt>
                <c:pt idx="126">
                  <c:v>143</c:v>
                </c:pt>
                <c:pt idx="127">
                  <c:v>112</c:v>
                </c:pt>
                <c:pt idx="128">
                  <c:v>99</c:v>
                </c:pt>
                <c:pt idx="129">
                  <c:v>122</c:v>
                </c:pt>
                <c:pt idx="130">
                  <c:v>48</c:v>
                </c:pt>
                <c:pt idx="131">
                  <c:v>25</c:v>
                </c:pt>
                <c:pt idx="132">
                  <c:v>230</c:v>
                </c:pt>
                <c:pt idx="133">
                  <c:v>96</c:v>
                </c:pt>
                <c:pt idx="134">
                  <c:v>108</c:v>
                </c:pt>
                <c:pt idx="135">
                  <c:v>53</c:v>
                </c:pt>
                <c:pt idx="136">
                  <c:v>65</c:v>
                </c:pt>
                <c:pt idx="137">
                  <c:v>32</c:v>
                </c:pt>
                <c:pt idx="138">
                  <c:v>26</c:v>
                </c:pt>
                <c:pt idx="139">
                  <c:v>124</c:v>
                </c:pt>
                <c:pt idx="140">
                  <c:v>75</c:v>
                </c:pt>
                <c:pt idx="141">
                  <c:v>71</c:v>
                </c:pt>
                <c:pt idx="142">
                  <c:v>60</c:v>
                </c:pt>
                <c:pt idx="143">
                  <c:v>79</c:v>
                </c:pt>
                <c:pt idx="144">
                  <c:v>26</c:v>
                </c:pt>
                <c:pt idx="145">
                  <c:v>11</c:v>
                </c:pt>
                <c:pt idx="146">
                  <c:v>89</c:v>
                </c:pt>
                <c:pt idx="147">
                  <c:v>76</c:v>
                </c:pt>
                <c:pt idx="148">
                  <c:v>59</c:v>
                </c:pt>
                <c:pt idx="149">
                  <c:v>32</c:v>
                </c:pt>
                <c:pt idx="150">
                  <c:v>46</c:v>
                </c:pt>
                <c:pt idx="151">
                  <c:v>29</c:v>
                </c:pt>
                <c:pt idx="152">
                  <c:v>9</c:v>
                </c:pt>
                <c:pt idx="153">
                  <c:v>79</c:v>
                </c:pt>
                <c:pt idx="154">
                  <c:v>69</c:v>
                </c:pt>
                <c:pt idx="155">
                  <c:v>59</c:v>
                </c:pt>
                <c:pt idx="156">
                  <c:v>42</c:v>
                </c:pt>
                <c:pt idx="157">
                  <c:v>47</c:v>
                </c:pt>
                <c:pt idx="158">
                  <c:v>11</c:v>
                </c:pt>
                <c:pt idx="159">
                  <c:v>17</c:v>
                </c:pt>
                <c:pt idx="160">
                  <c:v>70</c:v>
                </c:pt>
                <c:pt idx="161">
                  <c:v>21</c:v>
                </c:pt>
                <c:pt idx="162">
                  <c:v>33</c:v>
                </c:pt>
                <c:pt idx="163">
                  <c:v>38</c:v>
                </c:pt>
                <c:pt idx="164">
                  <c:v>39</c:v>
                </c:pt>
                <c:pt idx="165">
                  <c:v>15</c:v>
                </c:pt>
                <c:pt idx="166">
                  <c:v>10</c:v>
                </c:pt>
                <c:pt idx="167">
                  <c:v>63</c:v>
                </c:pt>
                <c:pt idx="168">
                  <c:v>33</c:v>
                </c:pt>
                <c:pt idx="169">
                  <c:v>36</c:v>
                </c:pt>
                <c:pt idx="170">
                  <c:v>29</c:v>
                </c:pt>
                <c:pt idx="171">
                  <c:v>35</c:v>
                </c:pt>
                <c:pt idx="172">
                  <c:v>6</c:v>
                </c:pt>
                <c:pt idx="173">
                  <c:v>18</c:v>
                </c:pt>
                <c:pt idx="174">
                  <c:v>74</c:v>
                </c:pt>
                <c:pt idx="175">
                  <c:v>44</c:v>
                </c:pt>
                <c:pt idx="176">
                  <c:v>34</c:v>
                </c:pt>
                <c:pt idx="177">
                  <c:v>32</c:v>
                </c:pt>
                <c:pt idx="178">
                  <c:v>39</c:v>
                </c:pt>
                <c:pt idx="179">
                  <c:v>9</c:v>
                </c:pt>
                <c:pt idx="180">
                  <c:v>9</c:v>
                </c:pt>
                <c:pt idx="181">
                  <c:v>57</c:v>
                </c:pt>
                <c:pt idx="182">
                  <c:v>39</c:v>
                </c:pt>
                <c:pt idx="183">
                  <c:v>56</c:v>
                </c:pt>
                <c:pt idx="184">
                  <c:v>39</c:v>
                </c:pt>
                <c:pt idx="185">
                  <c:v>28</c:v>
                </c:pt>
                <c:pt idx="186">
                  <c:v>14</c:v>
                </c:pt>
                <c:pt idx="187">
                  <c:v>10</c:v>
                </c:pt>
                <c:pt idx="188">
                  <c:v>61</c:v>
                </c:pt>
                <c:pt idx="189">
                  <c:v>37</c:v>
                </c:pt>
                <c:pt idx="190">
                  <c:v>29</c:v>
                </c:pt>
                <c:pt idx="191">
                  <c:v>26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5</c:v>
                </c:pt>
                <c:pt idx="196">
                  <c:v>23</c:v>
                </c:pt>
                <c:pt idx="197">
                  <c:v>23</c:v>
                </c:pt>
                <c:pt idx="198">
                  <c:v>16</c:v>
                </c:pt>
                <c:pt idx="199">
                  <c:v>20</c:v>
                </c:pt>
                <c:pt idx="200">
                  <c:v>1</c:v>
                </c:pt>
                <c:pt idx="201">
                  <c:v>4</c:v>
                </c:pt>
                <c:pt idx="202">
                  <c:v>30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9</c:v>
                </c:pt>
                <c:pt idx="210">
                  <c:v>14</c:v>
                </c:pt>
                <c:pt idx="211">
                  <c:v>13</c:v>
                </c:pt>
                <c:pt idx="212">
                  <c:v>12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5</c:v>
                </c:pt>
                <c:pt idx="217">
                  <c:v>22</c:v>
                </c:pt>
                <c:pt idx="218">
                  <c:v>16</c:v>
                </c:pt>
                <c:pt idx="219">
                  <c:v>16</c:v>
                </c:pt>
                <c:pt idx="220">
                  <c:v>8</c:v>
                </c:pt>
                <c:pt idx="221">
                  <c:v>4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3</c:v>
                </c:pt>
                <c:pt idx="232">
                  <c:v>4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7</c:v>
                </c:pt>
                <c:pt idx="238">
                  <c:v>7</c:v>
                </c:pt>
                <c:pt idx="239">
                  <c:v>2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5</c:v>
                </c:pt>
                <c:pt idx="259">
                  <c:v>4</c:v>
                </c:pt>
                <c:pt idx="260">
                  <c:v>1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2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9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9</c:v>
                </c:pt>
                <c:pt idx="420">
                  <c:v>5</c:v>
                </c:pt>
                <c:pt idx="421">
                  <c:v>17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5</c:v>
                </c:pt>
                <c:pt idx="428">
                  <c:v>19</c:v>
                </c:pt>
                <c:pt idx="429">
                  <c:v>24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0</c:v>
                </c:pt>
                <c:pt idx="434">
                  <c:v>25</c:v>
                </c:pt>
                <c:pt idx="435">
                  <c:v>29</c:v>
                </c:pt>
                <c:pt idx="436">
                  <c:v>36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5</c:v>
                </c:pt>
                <c:pt idx="441">
                  <c:v>33</c:v>
                </c:pt>
                <c:pt idx="442">
                  <c:v>13</c:v>
                </c:pt>
                <c:pt idx="443">
                  <c:v>42</c:v>
                </c:pt>
                <c:pt idx="444">
                  <c:v>52</c:v>
                </c:pt>
                <c:pt idx="445">
                  <c:v>11</c:v>
                </c:pt>
                <c:pt idx="446">
                  <c:v>7</c:v>
                </c:pt>
                <c:pt idx="447">
                  <c:v>68</c:v>
                </c:pt>
                <c:pt idx="448">
                  <c:v>44</c:v>
                </c:pt>
                <c:pt idx="449">
                  <c:v>45</c:v>
                </c:pt>
                <c:pt idx="450">
                  <c:v>48</c:v>
                </c:pt>
                <c:pt idx="451">
                  <c:v>48</c:v>
                </c:pt>
                <c:pt idx="452">
                  <c:v>21</c:v>
                </c:pt>
                <c:pt idx="453">
                  <c:v>8</c:v>
                </c:pt>
                <c:pt idx="454">
                  <c:v>42</c:v>
                </c:pt>
                <c:pt idx="455">
                  <c:v>47</c:v>
                </c:pt>
                <c:pt idx="456">
                  <c:v>40</c:v>
                </c:pt>
                <c:pt idx="457">
                  <c:v>32</c:v>
                </c:pt>
                <c:pt idx="458">
                  <c:v>26</c:v>
                </c:pt>
                <c:pt idx="459">
                  <c:v>20</c:v>
                </c:pt>
                <c:pt idx="460">
                  <c:v>9</c:v>
                </c:pt>
                <c:pt idx="461">
                  <c:v>46</c:v>
                </c:pt>
                <c:pt idx="462">
                  <c:v>33</c:v>
                </c:pt>
                <c:pt idx="463">
                  <c:v>27</c:v>
                </c:pt>
                <c:pt idx="464">
                  <c:v>36</c:v>
                </c:pt>
                <c:pt idx="465">
                  <c:v>22</c:v>
                </c:pt>
                <c:pt idx="466">
                  <c:v>16</c:v>
                </c:pt>
                <c:pt idx="467">
                  <c:v>6</c:v>
                </c:pt>
                <c:pt idx="468">
                  <c:v>18</c:v>
                </c:pt>
                <c:pt idx="469">
                  <c:v>40</c:v>
                </c:pt>
                <c:pt idx="470">
                  <c:v>35</c:v>
                </c:pt>
                <c:pt idx="471">
                  <c:v>21</c:v>
                </c:pt>
                <c:pt idx="472">
                  <c:v>17</c:v>
                </c:pt>
                <c:pt idx="473">
                  <c:v>8</c:v>
                </c:pt>
                <c:pt idx="47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Sheet1!$B$2:$B$476</c:f>
              <c:numCache>
                <c:formatCode>#\ ##0_ ;\-#\ ##0\ </c:formatCode>
                <c:ptCount val="475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8</c:v>
                </c:pt>
                <c:pt idx="29">
                  <c:v>38</c:v>
                </c:pt>
                <c:pt idx="30">
                  <c:v>61</c:v>
                </c:pt>
                <c:pt idx="31">
                  <c:v>157</c:v>
                </c:pt>
                <c:pt idx="32">
                  <c:v>67</c:v>
                </c:pt>
                <c:pt idx="33">
                  <c:v>84</c:v>
                </c:pt>
                <c:pt idx="34">
                  <c:v>257</c:v>
                </c:pt>
                <c:pt idx="35">
                  <c:v>128</c:v>
                </c:pt>
                <c:pt idx="36">
                  <c:v>87</c:v>
                </c:pt>
                <c:pt idx="37">
                  <c:v>162</c:v>
                </c:pt>
                <c:pt idx="38">
                  <c:v>226</c:v>
                </c:pt>
                <c:pt idx="39">
                  <c:v>81</c:v>
                </c:pt>
                <c:pt idx="40">
                  <c:v>36</c:v>
                </c:pt>
                <c:pt idx="41">
                  <c:v>298</c:v>
                </c:pt>
                <c:pt idx="42">
                  <c:v>377</c:v>
                </c:pt>
                <c:pt idx="43">
                  <c:v>373</c:v>
                </c:pt>
                <c:pt idx="44">
                  <c:v>394</c:v>
                </c:pt>
                <c:pt idx="45">
                  <c:v>416</c:v>
                </c:pt>
                <c:pt idx="46">
                  <c:v>259</c:v>
                </c:pt>
                <c:pt idx="47">
                  <c:v>89</c:v>
                </c:pt>
                <c:pt idx="48">
                  <c:v>434</c:v>
                </c:pt>
                <c:pt idx="49">
                  <c:v>393</c:v>
                </c:pt>
                <c:pt idx="50">
                  <c:v>584</c:v>
                </c:pt>
                <c:pt idx="51">
                  <c:v>463</c:v>
                </c:pt>
                <c:pt idx="52">
                  <c:v>750</c:v>
                </c:pt>
                <c:pt idx="53">
                  <c:v>414</c:v>
                </c:pt>
                <c:pt idx="54">
                  <c:v>285</c:v>
                </c:pt>
                <c:pt idx="55">
                  <c:v>762</c:v>
                </c:pt>
                <c:pt idx="56">
                  <c:v>918</c:v>
                </c:pt>
                <c:pt idx="57">
                  <c:v>394</c:v>
                </c:pt>
                <c:pt idx="58">
                  <c:v>1008</c:v>
                </c:pt>
                <c:pt idx="59">
                  <c:v>920</c:v>
                </c:pt>
                <c:pt idx="60">
                  <c:v>521</c:v>
                </c:pt>
                <c:pt idx="61">
                  <c:v>328</c:v>
                </c:pt>
                <c:pt idx="62">
                  <c:v>629</c:v>
                </c:pt>
                <c:pt idx="63">
                  <c:v>563</c:v>
                </c:pt>
                <c:pt idx="64">
                  <c:v>753</c:v>
                </c:pt>
                <c:pt idx="65">
                  <c:v>812</c:v>
                </c:pt>
                <c:pt idx="66">
                  <c:v>728</c:v>
                </c:pt>
                <c:pt idx="67">
                  <c:v>331</c:v>
                </c:pt>
                <c:pt idx="68">
                  <c:v>126</c:v>
                </c:pt>
                <c:pt idx="69">
                  <c:v>401</c:v>
                </c:pt>
                <c:pt idx="70">
                  <c:v>590</c:v>
                </c:pt>
                <c:pt idx="71">
                  <c:v>939</c:v>
                </c:pt>
                <c:pt idx="72">
                  <c:v>728</c:v>
                </c:pt>
                <c:pt idx="73">
                  <c:v>685</c:v>
                </c:pt>
                <c:pt idx="74">
                  <c:v>253</c:v>
                </c:pt>
                <c:pt idx="75">
                  <c:v>194</c:v>
                </c:pt>
                <c:pt idx="76">
                  <c:v>561</c:v>
                </c:pt>
                <c:pt idx="77">
                  <c:v>184</c:v>
                </c:pt>
                <c:pt idx="78">
                  <c:v>428</c:v>
                </c:pt>
                <c:pt idx="79">
                  <c:v>398</c:v>
                </c:pt>
                <c:pt idx="80">
                  <c:v>359</c:v>
                </c:pt>
                <c:pt idx="81">
                  <c:v>130</c:v>
                </c:pt>
                <c:pt idx="82">
                  <c:v>108</c:v>
                </c:pt>
                <c:pt idx="83">
                  <c:v>517</c:v>
                </c:pt>
                <c:pt idx="84">
                  <c:v>305</c:v>
                </c:pt>
                <c:pt idx="85">
                  <c:v>219</c:v>
                </c:pt>
                <c:pt idx="86">
                  <c:v>249</c:v>
                </c:pt>
                <c:pt idx="87">
                  <c:v>219</c:v>
                </c:pt>
                <c:pt idx="88">
                  <c:v>101</c:v>
                </c:pt>
                <c:pt idx="89">
                  <c:v>43</c:v>
                </c:pt>
                <c:pt idx="90">
                  <c:v>318</c:v>
                </c:pt>
                <c:pt idx="91">
                  <c:v>208</c:v>
                </c:pt>
                <c:pt idx="92">
                  <c:v>198</c:v>
                </c:pt>
                <c:pt idx="93">
                  <c:v>186</c:v>
                </c:pt>
                <c:pt idx="94">
                  <c:v>231</c:v>
                </c:pt>
                <c:pt idx="95">
                  <c:v>128</c:v>
                </c:pt>
                <c:pt idx="96">
                  <c:v>45</c:v>
                </c:pt>
                <c:pt idx="97">
                  <c:v>262</c:v>
                </c:pt>
                <c:pt idx="98">
                  <c:v>165</c:v>
                </c:pt>
                <c:pt idx="99">
                  <c:v>204</c:v>
                </c:pt>
                <c:pt idx="100">
                  <c:v>142</c:v>
                </c:pt>
                <c:pt idx="101">
                  <c:v>307</c:v>
                </c:pt>
                <c:pt idx="102">
                  <c:v>88</c:v>
                </c:pt>
                <c:pt idx="103">
                  <c:v>66</c:v>
                </c:pt>
                <c:pt idx="104">
                  <c:v>276</c:v>
                </c:pt>
                <c:pt idx="105">
                  <c:v>204</c:v>
                </c:pt>
                <c:pt idx="106">
                  <c:v>195</c:v>
                </c:pt>
                <c:pt idx="107">
                  <c:v>119</c:v>
                </c:pt>
                <c:pt idx="108">
                  <c:v>305</c:v>
                </c:pt>
                <c:pt idx="109">
                  <c:v>88</c:v>
                </c:pt>
                <c:pt idx="110">
                  <c:v>48</c:v>
                </c:pt>
                <c:pt idx="111">
                  <c:v>336</c:v>
                </c:pt>
                <c:pt idx="112">
                  <c:v>287</c:v>
                </c:pt>
                <c:pt idx="113">
                  <c:v>238</c:v>
                </c:pt>
                <c:pt idx="114">
                  <c:v>46</c:v>
                </c:pt>
                <c:pt idx="115">
                  <c:v>116</c:v>
                </c:pt>
                <c:pt idx="116">
                  <c:v>127</c:v>
                </c:pt>
                <c:pt idx="117">
                  <c:v>144</c:v>
                </c:pt>
                <c:pt idx="118">
                  <c:v>355</c:v>
                </c:pt>
                <c:pt idx="119">
                  <c:v>332</c:v>
                </c:pt>
                <c:pt idx="120">
                  <c:v>255</c:v>
                </c:pt>
                <c:pt idx="121">
                  <c:v>218</c:v>
                </c:pt>
                <c:pt idx="122">
                  <c:v>93</c:v>
                </c:pt>
                <c:pt idx="123">
                  <c:v>118</c:v>
                </c:pt>
                <c:pt idx="124">
                  <c:v>76</c:v>
                </c:pt>
                <c:pt idx="125">
                  <c:v>544</c:v>
                </c:pt>
                <c:pt idx="126">
                  <c:v>295</c:v>
                </c:pt>
                <c:pt idx="127">
                  <c:v>272</c:v>
                </c:pt>
                <c:pt idx="128">
                  <c:v>331</c:v>
                </c:pt>
                <c:pt idx="129">
                  <c:v>307</c:v>
                </c:pt>
                <c:pt idx="130">
                  <c:v>109</c:v>
                </c:pt>
                <c:pt idx="131">
                  <c:v>56</c:v>
                </c:pt>
                <c:pt idx="132">
                  <c:v>468</c:v>
                </c:pt>
                <c:pt idx="133">
                  <c:v>222</c:v>
                </c:pt>
                <c:pt idx="134">
                  <c:v>283</c:v>
                </c:pt>
                <c:pt idx="135">
                  <c:v>150</c:v>
                </c:pt>
                <c:pt idx="136">
                  <c:v>151</c:v>
                </c:pt>
                <c:pt idx="137">
                  <c:v>67</c:v>
                </c:pt>
                <c:pt idx="138">
                  <c:v>71</c:v>
                </c:pt>
                <c:pt idx="139">
                  <c:v>285</c:v>
                </c:pt>
                <c:pt idx="140">
                  <c:v>154</c:v>
                </c:pt>
                <c:pt idx="141">
                  <c:v>217</c:v>
                </c:pt>
                <c:pt idx="142">
                  <c:v>166</c:v>
                </c:pt>
                <c:pt idx="143">
                  <c:v>193</c:v>
                </c:pt>
                <c:pt idx="144">
                  <c:v>79</c:v>
                </c:pt>
                <c:pt idx="145">
                  <c:v>36</c:v>
                </c:pt>
                <c:pt idx="146">
                  <c:v>173</c:v>
                </c:pt>
                <c:pt idx="147">
                  <c:v>117</c:v>
                </c:pt>
                <c:pt idx="148">
                  <c:v>154</c:v>
                </c:pt>
                <c:pt idx="149">
                  <c:v>98</c:v>
                </c:pt>
                <c:pt idx="150">
                  <c:v>83</c:v>
                </c:pt>
                <c:pt idx="151">
                  <c:v>78</c:v>
                </c:pt>
                <c:pt idx="152">
                  <c:v>18</c:v>
                </c:pt>
                <c:pt idx="153">
                  <c:v>184</c:v>
                </c:pt>
                <c:pt idx="154">
                  <c:v>163</c:v>
                </c:pt>
                <c:pt idx="155">
                  <c:v>161</c:v>
                </c:pt>
                <c:pt idx="156">
                  <c:v>124</c:v>
                </c:pt>
                <c:pt idx="157">
                  <c:v>131</c:v>
                </c:pt>
                <c:pt idx="158">
                  <c:v>53</c:v>
                </c:pt>
                <c:pt idx="159">
                  <c:v>33</c:v>
                </c:pt>
                <c:pt idx="160">
                  <c:v>135</c:v>
                </c:pt>
                <c:pt idx="161">
                  <c:v>87</c:v>
                </c:pt>
                <c:pt idx="162">
                  <c:v>100</c:v>
                </c:pt>
                <c:pt idx="163">
                  <c:v>103</c:v>
                </c:pt>
                <c:pt idx="164">
                  <c:v>91</c:v>
                </c:pt>
                <c:pt idx="165">
                  <c:v>23</c:v>
                </c:pt>
                <c:pt idx="166">
                  <c:v>23</c:v>
                </c:pt>
                <c:pt idx="167">
                  <c:v>100</c:v>
                </c:pt>
                <c:pt idx="168">
                  <c:v>50</c:v>
                </c:pt>
                <c:pt idx="169">
                  <c:v>66</c:v>
                </c:pt>
                <c:pt idx="170">
                  <c:v>56</c:v>
                </c:pt>
                <c:pt idx="171">
                  <c:v>62</c:v>
                </c:pt>
                <c:pt idx="172">
                  <c:v>24</c:v>
                </c:pt>
                <c:pt idx="173">
                  <c:v>23</c:v>
                </c:pt>
                <c:pt idx="174">
                  <c:v>163</c:v>
                </c:pt>
                <c:pt idx="175">
                  <c:v>79</c:v>
                </c:pt>
                <c:pt idx="176">
                  <c:v>68</c:v>
                </c:pt>
                <c:pt idx="177">
                  <c:v>78</c:v>
                </c:pt>
                <c:pt idx="178">
                  <c:v>85</c:v>
                </c:pt>
                <c:pt idx="179">
                  <c:v>18</c:v>
                </c:pt>
                <c:pt idx="180">
                  <c:v>12</c:v>
                </c:pt>
                <c:pt idx="181">
                  <c:v>135</c:v>
                </c:pt>
                <c:pt idx="182">
                  <c:v>67</c:v>
                </c:pt>
                <c:pt idx="183">
                  <c:v>102</c:v>
                </c:pt>
                <c:pt idx="184">
                  <c:v>48</c:v>
                </c:pt>
                <c:pt idx="185">
                  <c:v>51</c:v>
                </c:pt>
                <c:pt idx="186">
                  <c:v>19</c:v>
                </c:pt>
                <c:pt idx="187">
                  <c:v>15</c:v>
                </c:pt>
                <c:pt idx="188">
                  <c:v>88</c:v>
                </c:pt>
                <c:pt idx="189">
                  <c:v>114</c:v>
                </c:pt>
                <c:pt idx="190">
                  <c:v>84</c:v>
                </c:pt>
                <c:pt idx="191">
                  <c:v>38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2</c:v>
                </c:pt>
                <c:pt idx="196">
                  <c:v>43</c:v>
                </c:pt>
                <c:pt idx="197">
                  <c:v>30</c:v>
                </c:pt>
                <c:pt idx="198">
                  <c:v>53</c:v>
                </c:pt>
                <c:pt idx="199">
                  <c:v>38</c:v>
                </c:pt>
                <c:pt idx="200">
                  <c:v>10</c:v>
                </c:pt>
                <c:pt idx="201">
                  <c:v>8</c:v>
                </c:pt>
                <c:pt idx="202">
                  <c:v>44</c:v>
                </c:pt>
                <c:pt idx="203">
                  <c:v>46</c:v>
                </c:pt>
                <c:pt idx="204">
                  <c:v>29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40</c:v>
                </c:pt>
                <c:pt idx="210">
                  <c:v>24</c:v>
                </c:pt>
                <c:pt idx="211">
                  <c:v>22</c:v>
                </c:pt>
                <c:pt idx="212">
                  <c:v>21</c:v>
                </c:pt>
                <c:pt idx="213">
                  <c:v>6</c:v>
                </c:pt>
                <c:pt idx="214">
                  <c:v>6</c:v>
                </c:pt>
                <c:pt idx="215">
                  <c:v>4</c:v>
                </c:pt>
                <c:pt idx="216">
                  <c:v>6</c:v>
                </c:pt>
                <c:pt idx="217">
                  <c:v>27</c:v>
                </c:pt>
                <c:pt idx="218">
                  <c:v>34</c:v>
                </c:pt>
                <c:pt idx="219">
                  <c:v>17</c:v>
                </c:pt>
                <c:pt idx="220">
                  <c:v>11</c:v>
                </c:pt>
                <c:pt idx="221">
                  <c:v>5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9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7</c:v>
                </c:pt>
                <c:pt idx="232">
                  <c:v>7</c:v>
                </c:pt>
                <c:pt idx="233">
                  <c:v>13</c:v>
                </c:pt>
                <c:pt idx="234">
                  <c:v>7</c:v>
                </c:pt>
                <c:pt idx="235">
                  <c:v>2</c:v>
                </c:pt>
                <c:pt idx="236">
                  <c:v>0</c:v>
                </c:pt>
                <c:pt idx="237">
                  <c:v>8</c:v>
                </c:pt>
                <c:pt idx="238">
                  <c:v>10</c:v>
                </c:pt>
                <c:pt idx="239">
                  <c:v>3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8</c:v>
                </c:pt>
                <c:pt idx="259">
                  <c:v>4</c:v>
                </c:pt>
                <c:pt idx="260">
                  <c:v>3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2</c:v>
                </c:pt>
                <c:pt idx="414">
                  <c:v>13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3</c:v>
                </c:pt>
                <c:pt idx="420">
                  <c:v>14</c:v>
                </c:pt>
                <c:pt idx="421">
                  <c:v>28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38</c:v>
                </c:pt>
                <c:pt idx="428">
                  <c:v>35</c:v>
                </c:pt>
                <c:pt idx="429">
                  <c:v>76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79</c:v>
                </c:pt>
                <c:pt idx="434">
                  <c:v>54</c:v>
                </c:pt>
                <c:pt idx="435">
                  <c:v>44</c:v>
                </c:pt>
                <c:pt idx="436">
                  <c:v>54</c:v>
                </c:pt>
                <c:pt idx="437">
                  <c:v>51</c:v>
                </c:pt>
                <c:pt idx="438">
                  <c:v>33</c:v>
                </c:pt>
                <c:pt idx="439">
                  <c:v>28</c:v>
                </c:pt>
                <c:pt idx="440">
                  <c:v>98</c:v>
                </c:pt>
                <c:pt idx="441">
                  <c:v>65</c:v>
                </c:pt>
                <c:pt idx="442">
                  <c:v>36</c:v>
                </c:pt>
                <c:pt idx="443">
                  <c:v>97</c:v>
                </c:pt>
                <c:pt idx="444">
                  <c:v>136</c:v>
                </c:pt>
                <c:pt idx="445">
                  <c:v>37</c:v>
                </c:pt>
                <c:pt idx="446">
                  <c:v>16</c:v>
                </c:pt>
                <c:pt idx="447">
                  <c:v>116</c:v>
                </c:pt>
                <c:pt idx="448">
                  <c:v>67</c:v>
                </c:pt>
                <c:pt idx="449">
                  <c:v>86</c:v>
                </c:pt>
                <c:pt idx="450">
                  <c:v>78</c:v>
                </c:pt>
                <c:pt idx="451">
                  <c:v>100</c:v>
                </c:pt>
                <c:pt idx="452">
                  <c:v>26</c:v>
                </c:pt>
                <c:pt idx="453">
                  <c:v>15</c:v>
                </c:pt>
                <c:pt idx="454">
                  <c:v>80</c:v>
                </c:pt>
                <c:pt idx="455">
                  <c:v>60</c:v>
                </c:pt>
                <c:pt idx="456">
                  <c:v>70</c:v>
                </c:pt>
                <c:pt idx="457">
                  <c:v>60</c:v>
                </c:pt>
                <c:pt idx="458">
                  <c:v>40</c:v>
                </c:pt>
                <c:pt idx="459">
                  <c:v>58</c:v>
                </c:pt>
                <c:pt idx="460">
                  <c:v>14</c:v>
                </c:pt>
                <c:pt idx="461">
                  <c:v>72</c:v>
                </c:pt>
                <c:pt idx="462">
                  <c:v>55</c:v>
                </c:pt>
                <c:pt idx="463">
                  <c:v>39</c:v>
                </c:pt>
                <c:pt idx="464">
                  <c:v>66</c:v>
                </c:pt>
                <c:pt idx="465">
                  <c:v>48</c:v>
                </c:pt>
                <c:pt idx="466">
                  <c:v>21</c:v>
                </c:pt>
                <c:pt idx="467">
                  <c:v>7</c:v>
                </c:pt>
                <c:pt idx="468">
                  <c:v>28</c:v>
                </c:pt>
                <c:pt idx="469">
                  <c:v>66</c:v>
                </c:pt>
                <c:pt idx="470">
                  <c:v>48</c:v>
                </c:pt>
                <c:pt idx="471">
                  <c:v>35</c:v>
                </c:pt>
                <c:pt idx="472">
                  <c:v>38</c:v>
                </c:pt>
                <c:pt idx="473">
                  <c:v>10</c:v>
                </c:pt>
                <c:pt idx="47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76</c:f>
              <c:numCache>
                <c:formatCode>m/d/yyyy</c:formatCode>
                <c:ptCount val="47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</c:numCache>
            </c:numRef>
          </c:cat>
          <c:val>
            <c:numRef>
              <c:f>Sheet1!$B$2:$B$476</c:f>
              <c:numCache>
                <c:formatCode>#\ ##0_ ;\-#\ ##0\ </c:formatCode>
                <c:ptCount val="47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5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3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6</c:v>
                </c:pt>
                <c:pt idx="434">
                  <c:v>4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5</c:v>
                </c:pt>
                <c:pt idx="456">
                  <c:v>5</c:v>
                </c:pt>
                <c:pt idx="457">
                  <c:v>1</c:v>
                </c:pt>
                <c:pt idx="458">
                  <c:v>0</c:v>
                </c:pt>
                <c:pt idx="459">
                  <c:v>1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5</c:v>
                </c:pt>
                <c:pt idx="473">
                  <c:v>0</c:v>
                </c:pt>
                <c:pt idx="47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U$1</c:f>
              <c:strCache>
                <c:ptCount val="20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</c:strCache>
            </c:strRef>
          </c:cat>
          <c:val>
            <c:numRef>
              <c:f>List1!$B$2:$U$2</c:f>
              <c:numCache>
                <c:formatCode>General</c:formatCode>
                <c:ptCount val="20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1</c:v>
                </c:pt>
                <c:pt idx="18">
                  <c:v>669</c:v>
                </c:pt>
                <c:pt idx="19">
                  <c:v>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81</c:f>
              <c:numCache>
                <c:formatCode>m/d/yyyy</c:formatCode>
                <c:ptCount val="380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  <c:pt idx="373">
                  <c:v>44541</c:v>
                </c:pt>
                <c:pt idx="374">
                  <c:v>44542</c:v>
                </c:pt>
                <c:pt idx="375">
                  <c:v>44543</c:v>
                </c:pt>
                <c:pt idx="376">
                  <c:v>44544</c:v>
                </c:pt>
                <c:pt idx="377">
                  <c:v>44545</c:v>
                </c:pt>
                <c:pt idx="378">
                  <c:v>44546</c:v>
                </c:pt>
                <c:pt idx="379">
                  <c:v>44547</c:v>
                </c:pt>
              </c:numCache>
            </c:numRef>
          </c:cat>
          <c:val>
            <c:numRef>
              <c:f>Sheet1!$B$2:$B$381</c:f>
              <c:numCache>
                <c:formatCode>General</c:formatCode>
                <c:ptCount val="380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8</c:v>
                </c:pt>
                <c:pt idx="28">
                  <c:v>9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35</c:v>
                </c:pt>
                <c:pt idx="39">
                  <c:v>49</c:v>
                </c:pt>
                <c:pt idx="40">
                  <c:v>33</c:v>
                </c:pt>
                <c:pt idx="41">
                  <c:v>40</c:v>
                </c:pt>
                <c:pt idx="42">
                  <c:v>25</c:v>
                </c:pt>
                <c:pt idx="43">
                  <c:v>16</c:v>
                </c:pt>
                <c:pt idx="44">
                  <c:v>42</c:v>
                </c:pt>
                <c:pt idx="45">
                  <c:v>40</c:v>
                </c:pt>
                <c:pt idx="46">
                  <c:v>53</c:v>
                </c:pt>
                <c:pt idx="47">
                  <c:v>62</c:v>
                </c:pt>
                <c:pt idx="48">
                  <c:v>74</c:v>
                </c:pt>
                <c:pt idx="49">
                  <c:v>45</c:v>
                </c:pt>
                <c:pt idx="50">
                  <c:v>33</c:v>
                </c:pt>
                <c:pt idx="51">
                  <c:v>78</c:v>
                </c:pt>
                <c:pt idx="52">
                  <c:v>69</c:v>
                </c:pt>
                <c:pt idx="53">
                  <c:v>42</c:v>
                </c:pt>
                <c:pt idx="54">
                  <c:v>84</c:v>
                </c:pt>
                <c:pt idx="55">
                  <c:v>94</c:v>
                </c:pt>
                <c:pt idx="56">
                  <c:v>37</c:v>
                </c:pt>
                <c:pt idx="57">
                  <c:v>37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77</c:v>
                </c:pt>
                <c:pt idx="62">
                  <c:v>84</c:v>
                </c:pt>
                <c:pt idx="63">
                  <c:v>31</c:v>
                </c:pt>
                <c:pt idx="64">
                  <c:v>16</c:v>
                </c:pt>
                <c:pt idx="65">
                  <c:v>53</c:v>
                </c:pt>
                <c:pt idx="66">
                  <c:v>72</c:v>
                </c:pt>
                <c:pt idx="67">
                  <c:v>117</c:v>
                </c:pt>
                <c:pt idx="68">
                  <c:v>91</c:v>
                </c:pt>
                <c:pt idx="69">
                  <c:v>79</c:v>
                </c:pt>
                <c:pt idx="70">
                  <c:v>43</c:v>
                </c:pt>
                <c:pt idx="71">
                  <c:v>23</c:v>
                </c:pt>
                <c:pt idx="72">
                  <c:v>65</c:v>
                </c:pt>
                <c:pt idx="73">
                  <c:v>26</c:v>
                </c:pt>
                <c:pt idx="74">
                  <c:v>47</c:v>
                </c:pt>
                <c:pt idx="75">
                  <c:v>59</c:v>
                </c:pt>
                <c:pt idx="76">
                  <c:v>50</c:v>
                </c:pt>
                <c:pt idx="77">
                  <c:v>20</c:v>
                </c:pt>
                <c:pt idx="78">
                  <c:v>13</c:v>
                </c:pt>
                <c:pt idx="79">
                  <c:v>67</c:v>
                </c:pt>
                <c:pt idx="80">
                  <c:v>40</c:v>
                </c:pt>
                <c:pt idx="81">
                  <c:v>25</c:v>
                </c:pt>
                <c:pt idx="82">
                  <c:v>34</c:v>
                </c:pt>
                <c:pt idx="83">
                  <c:v>27</c:v>
                </c:pt>
                <c:pt idx="84">
                  <c:v>15</c:v>
                </c:pt>
                <c:pt idx="85">
                  <c:v>13</c:v>
                </c:pt>
                <c:pt idx="86">
                  <c:v>41</c:v>
                </c:pt>
                <c:pt idx="87">
                  <c:v>33</c:v>
                </c:pt>
                <c:pt idx="88">
                  <c:v>27</c:v>
                </c:pt>
                <c:pt idx="89">
                  <c:v>22</c:v>
                </c:pt>
                <c:pt idx="90">
                  <c:v>36</c:v>
                </c:pt>
                <c:pt idx="91">
                  <c:v>19</c:v>
                </c:pt>
                <c:pt idx="92">
                  <c:v>10</c:v>
                </c:pt>
                <c:pt idx="93">
                  <c:v>34</c:v>
                </c:pt>
                <c:pt idx="94">
                  <c:v>28</c:v>
                </c:pt>
                <c:pt idx="95">
                  <c:v>33</c:v>
                </c:pt>
                <c:pt idx="96">
                  <c:v>24</c:v>
                </c:pt>
                <c:pt idx="97">
                  <c:v>33</c:v>
                </c:pt>
                <c:pt idx="98">
                  <c:v>18</c:v>
                </c:pt>
                <c:pt idx="99">
                  <c:v>24</c:v>
                </c:pt>
                <c:pt idx="100">
                  <c:v>36</c:v>
                </c:pt>
                <c:pt idx="101">
                  <c:v>26</c:v>
                </c:pt>
                <c:pt idx="102">
                  <c:v>27</c:v>
                </c:pt>
                <c:pt idx="103">
                  <c:v>14</c:v>
                </c:pt>
                <c:pt idx="104">
                  <c:v>39</c:v>
                </c:pt>
                <c:pt idx="105">
                  <c:v>15</c:v>
                </c:pt>
                <c:pt idx="106">
                  <c:v>6</c:v>
                </c:pt>
                <c:pt idx="107">
                  <c:v>30</c:v>
                </c:pt>
                <c:pt idx="108">
                  <c:v>41</c:v>
                </c:pt>
                <c:pt idx="109">
                  <c:v>20</c:v>
                </c:pt>
                <c:pt idx="110">
                  <c:v>5</c:v>
                </c:pt>
                <c:pt idx="111">
                  <c:v>21</c:v>
                </c:pt>
                <c:pt idx="112">
                  <c:v>17</c:v>
                </c:pt>
                <c:pt idx="113">
                  <c:v>19</c:v>
                </c:pt>
                <c:pt idx="114">
                  <c:v>20</c:v>
                </c:pt>
                <c:pt idx="115">
                  <c:v>44</c:v>
                </c:pt>
                <c:pt idx="116">
                  <c:v>25</c:v>
                </c:pt>
                <c:pt idx="117">
                  <c:v>36</c:v>
                </c:pt>
                <c:pt idx="118">
                  <c:v>19</c:v>
                </c:pt>
                <c:pt idx="119">
                  <c:v>14</c:v>
                </c:pt>
                <c:pt idx="120">
                  <c:v>4</c:v>
                </c:pt>
                <c:pt idx="121">
                  <c:v>32</c:v>
                </c:pt>
                <c:pt idx="122">
                  <c:v>30</c:v>
                </c:pt>
                <c:pt idx="123">
                  <c:v>36</c:v>
                </c:pt>
                <c:pt idx="124">
                  <c:v>40</c:v>
                </c:pt>
                <c:pt idx="125">
                  <c:v>33</c:v>
                </c:pt>
                <c:pt idx="126">
                  <c:v>15</c:v>
                </c:pt>
                <c:pt idx="127">
                  <c:v>8</c:v>
                </c:pt>
                <c:pt idx="128">
                  <c:v>51</c:v>
                </c:pt>
                <c:pt idx="129">
                  <c:v>24</c:v>
                </c:pt>
                <c:pt idx="130">
                  <c:v>22</c:v>
                </c:pt>
                <c:pt idx="131">
                  <c:v>13</c:v>
                </c:pt>
                <c:pt idx="132">
                  <c:v>20</c:v>
                </c:pt>
                <c:pt idx="133">
                  <c:v>12</c:v>
                </c:pt>
                <c:pt idx="134">
                  <c:v>15</c:v>
                </c:pt>
                <c:pt idx="135">
                  <c:v>29</c:v>
                </c:pt>
                <c:pt idx="136">
                  <c:v>23</c:v>
                </c:pt>
                <c:pt idx="137">
                  <c:v>38</c:v>
                </c:pt>
                <c:pt idx="138">
                  <c:v>23</c:v>
                </c:pt>
                <c:pt idx="139">
                  <c:v>21</c:v>
                </c:pt>
                <c:pt idx="140">
                  <c:v>7</c:v>
                </c:pt>
                <c:pt idx="141">
                  <c:v>9</c:v>
                </c:pt>
                <c:pt idx="142">
                  <c:v>21</c:v>
                </c:pt>
                <c:pt idx="143">
                  <c:v>12</c:v>
                </c:pt>
                <c:pt idx="144">
                  <c:v>21</c:v>
                </c:pt>
                <c:pt idx="145">
                  <c:v>11</c:v>
                </c:pt>
                <c:pt idx="146">
                  <c:v>8</c:v>
                </c:pt>
                <c:pt idx="147">
                  <c:v>10</c:v>
                </c:pt>
                <c:pt idx="148">
                  <c:v>5</c:v>
                </c:pt>
                <c:pt idx="149">
                  <c:v>20</c:v>
                </c:pt>
                <c:pt idx="150">
                  <c:v>20</c:v>
                </c:pt>
                <c:pt idx="151">
                  <c:v>13</c:v>
                </c:pt>
                <c:pt idx="152">
                  <c:v>20</c:v>
                </c:pt>
                <c:pt idx="153">
                  <c:v>15</c:v>
                </c:pt>
                <c:pt idx="154">
                  <c:v>5</c:v>
                </c:pt>
                <c:pt idx="155">
                  <c:v>5</c:v>
                </c:pt>
                <c:pt idx="156">
                  <c:v>14</c:v>
                </c:pt>
                <c:pt idx="157">
                  <c:v>15</c:v>
                </c:pt>
                <c:pt idx="158">
                  <c:v>16</c:v>
                </c:pt>
                <c:pt idx="159">
                  <c:v>11</c:v>
                </c:pt>
                <c:pt idx="160">
                  <c:v>13</c:v>
                </c:pt>
                <c:pt idx="161">
                  <c:v>2</c:v>
                </c:pt>
                <c:pt idx="162">
                  <c:v>3</c:v>
                </c:pt>
                <c:pt idx="163">
                  <c:v>8</c:v>
                </c:pt>
                <c:pt idx="164">
                  <c:v>7</c:v>
                </c:pt>
                <c:pt idx="165">
                  <c:v>7</c:v>
                </c:pt>
                <c:pt idx="166">
                  <c:v>9</c:v>
                </c:pt>
                <c:pt idx="167">
                  <c:v>5</c:v>
                </c:pt>
                <c:pt idx="168">
                  <c:v>10</c:v>
                </c:pt>
                <c:pt idx="169">
                  <c:v>3</c:v>
                </c:pt>
                <c:pt idx="170">
                  <c:v>21</c:v>
                </c:pt>
                <c:pt idx="171">
                  <c:v>14</c:v>
                </c:pt>
                <c:pt idx="172">
                  <c:v>7</c:v>
                </c:pt>
                <c:pt idx="173">
                  <c:v>11</c:v>
                </c:pt>
                <c:pt idx="174">
                  <c:v>7</c:v>
                </c:pt>
                <c:pt idx="175">
                  <c:v>3</c:v>
                </c:pt>
                <c:pt idx="176">
                  <c:v>1</c:v>
                </c:pt>
                <c:pt idx="177">
                  <c:v>10</c:v>
                </c:pt>
                <c:pt idx="178">
                  <c:v>7</c:v>
                </c:pt>
                <c:pt idx="179">
                  <c:v>8</c:v>
                </c:pt>
                <c:pt idx="180">
                  <c:v>4</c:v>
                </c:pt>
                <c:pt idx="181">
                  <c:v>7</c:v>
                </c:pt>
                <c:pt idx="182">
                  <c:v>2</c:v>
                </c:pt>
                <c:pt idx="183">
                  <c:v>3</c:v>
                </c:pt>
                <c:pt idx="184">
                  <c:v>6</c:v>
                </c:pt>
                <c:pt idx="185">
                  <c:v>7</c:v>
                </c:pt>
                <c:pt idx="186">
                  <c:v>10</c:v>
                </c:pt>
                <c:pt idx="187">
                  <c:v>3</c:v>
                </c:pt>
                <c:pt idx="188">
                  <c:v>5</c:v>
                </c:pt>
                <c:pt idx="189">
                  <c:v>5</c:v>
                </c:pt>
                <c:pt idx="190">
                  <c:v>3</c:v>
                </c:pt>
                <c:pt idx="191">
                  <c:v>8</c:v>
                </c:pt>
                <c:pt idx="192">
                  <c:v>9</c:v>
                </c:pt>
                <c:pt idx="193">
                  <c:v>1</c:v>
                </c:pt>
                <c:pt idx="194">
                  <c:v>8</c:v>
                </c:pt>
                <c:pt idx="195">
                  <c:v>11</c:v>
                </c:pt>
                <c:pt idx="196">
                  <c:v>3</c:v>
                </c:pt>
                <c:pt idx="197">
                  <c:v>2</c:v>
                </c:pt>
                <c:pt idx="198">
                  <c:v>6</c:v>
                </c:pt>
                <c:pt idx="199">
                  <c:v>6</c:v>
                </c:pt>
                <c:pt idx="200">
                  <c:v>2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0</c:v>
                </c:pt>
                <c:pt idx="205">
                  <c:v>2</c:v>
                </c:pt>
                <c:pt idx="206">
                  <c:v>1</c:v>
                </c:pt>
                <c:pt idx="207">
                  <c:v>1</c:v>
                </c:pt>
                <c:pt idx="208">
                  <c:v>2</c:v>
                </c:pt>
                <c:pt idx="209">
                  <c:v>1</c:v>
                </c:pt>
                <c:pt idx="210">
                  <c:v>2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5</c:v>
                </c:pt>
                <c:pt idx="215">
                  <c:v>0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1</c:v>
                </c:pt>
                <c:pt idx="220">
                  <c:v>3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1</c:v>
                </c:pt>
                <c:pt idx="228">
                  <c:v>2</c:v>
                </c:pt>
                <c:pt idx="229">
                  <c:v>2</c:v>
                </c:pt>
                <c:pt idx="230">
                  <c:v>1</c:v>
                </c:pt>
                <c:pt idx="231">
                  <c:v>0</c:v>
                </c:pt>
                <c:pt idx="232">
                  <c:v>0</c:v>
                </c:pt>
                <c:pt idx="233">
                  <c:v>4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2</c:v>
                </c:pt>
                <c:pt idx="248">
                  <c:v>2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2</c:v>
                </c:pt>
                <c:pt idx="259">
                  <c:v>1</c:v>
                </c:pt>
                <c:pt idx="260">
                  <c:v>0</c:v>
                </c:pt>
                <c:pt idx="261">
                  <c:v>1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1</c:v>
                </c:pt>
                <c:pt idx="268">
                  <c:v>0</c:v>
                </c:pt>
                <c:pt idx="269">
                  <c:v>0</c:v>
                </c:pt>
                <c:pt idx="270">
                  <c:v>1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2</c:v>
                </c:pt>
                <c:pt idx="283">
                  <c:v>2</c:v>
                </c:pt>
                <c:pt idx="284">
                  <c:v>1</c:v>
                </c:pt>
                <c:pt idx="285">
                  <c:v>0</c:v>
                </c:pt>
                <c:pt idx="286">
                  <c:v>2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2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1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3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1</c:v>
                </c:pt>
                <c:pt idx="313">
                  <c:v>0</c:v>
                </c:pt>
                <c:pt idx="314">
                  <c:v>3</c:v>
                </c:pt>
                <c:pt idx="315">
                  <c:v>1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4</c:v>
                </c:pt>
                <c:pt idx="320">
                  <c:v>0</c:v>
                </c:pt>
                <c:pt idx="321">
                  <c:v>1</c:v>
                </c:pt>
                <c:pt idx="322">
                  <c:v>0</c:v>
                </c:pt>
                <c:pt idx="323">
                  <c:v>2</c:v>
                </c:pt>
                <c:pt idx="324">
                  <c:v>0</c:v>
                </c:pt>
                <c:pt idx="325">
                  <c:v>0</c:v>
                </c:pt>
                <c:pt idx="326">
                  <c:v>4</c:v>
                </c:pt>
                <c:pt idx="327">
                  <c:v>2</c:v>
                </c:pt>
                <c:pt idx="328">
                  <c:v>2</c:v>
                </c:pt>
                <c:pt idx="329">
                  <c:v>0</c:v>
                </c:pt>
                <c:pt idx="330">
                  <c:v>5</c:v>
                </c:pt>
                <c:pt idx="331">
                  <c:v>3</c:v>
                </c:pt>
                <c:pt idx="332">
                  <c:v>2</c:v>
                </c:pt>
                <c:pt idx="333">
                  <c:v>8</c:v>
                </c:pt>
                <c:pt idx="334">
                  <c:v>6</c:v>
                </c:pt>
                <c:pt idx="335">
                  <c:v>5</c:v>
                </c:pt>
                <c:pt idx="336">
                  <c:v>3</c:v>
                </c:pt>
                <c:pt idx="337">
                  <c:v>6</c:v>
                </c:pt>
                <c:pt idx="338">
                  <c:v>1</c:v>
                </c:pt>
                <c:pt idx="339">
                  <c:v>1</c:v>
                </c:pt>
                <c:pt idx="340">
                  <c:v>5</c:v>
                </c:pt>
                <c:pt idx="341">
                  <c:v>7</c:v>
                </c:pt>
                <c:pt idx="342">
                  <c:v>4</c:v>
                </c:pt>
                <c:pt idx="343">
                  <c:v>6</c:v>
                </c:pt>
                <c:pt idx="344">
                  <c:v>2</c:v>
                </c:pt>
                <c:pt idx="345">
                  <c:v>5</c:v>
                </c:pt>
                <c:pt idx="346">
                  <c:v>2</c:v>
                </c:pt>
                <c:pt idx="347">
                  <c:v>7</c:v>
                </c:pt>
                <c:pt idx="348">
                  <c:v>7</c:v>
                </c:pt>
                <c:pt idx="349">
                  <c:v>6</c:v>
                </c:pt>
                <c:pt idx="350">
                  <c:v>12</c:v>
                </c:pt>
                <c:pt idx="351">
                  <c:v>7</c:v>
                </c:pt>
                <c:pt idx="352">
                  <c:v>3</c:v>
                </c:pt>
                <c:pt idx="353">
                  <c:v>3</c:v>
                </c:pt>
                <c:pt idx="354">
                  <c:v>12</c:v>
                </c:pt>
                <c:pt idx="355">
                  <c:v>5</c:v>
                </c:pt>
                <c:pt idx="356">
                  <c:v>15</c:v>
                </c:pt>
                <c:pt idx="357">
                  <c:v>3</c:v>
                </c:pt>
                <c:pt idx="358">
                  <c:v>8</c:v>
                </c:pt>
                <c:pt idx="359">
                  <c:v>1</c:v>
                </c:pt>
                <c:pt idx="360">
                  <c:v>3</c:v>
                </c:pt>
                <c:pt idx="361">
                  <c:v>7</c:v>
                </c:pt>
                <c:pt idx="362">
                  <c:v>3</c:v>
                </c:pt>
                <c:pt idx="363">
                  <c:v>7</c:v>
                </c:pt>
                <c:pt idx="364">
                  <c:v>6</c:v>
                </c:pt>
                <c:pt idx="365">
                  <c:v>5</c:v>
                </c:pt>
                <c:pt idx="366">
                  <c:v>5</c:v>
                </c:pt>
                <c:pt idx="367">
                  <c:v>1</c:v>
                </c:pt>
                <c:pt idx="368">
                  <c:v>8</c:v>
                </c:pt>
                <c:pt idx="369">
                  <c:v>3</c:v>
                </c:pt>
                <c:pt idx="370">
                  <c:v>4</c:v>
                </c:pt>
                <c:pt idx="371">
                  <c:v>5</c:v>
                </c:pt>
                <c:pt idx="372">
                  <c:v>7</c:v>
                </c:pt>
                <c:pt idx="373">
                  <c:v>2</c:v>
                </c:pt>
                <c:pt idx="374">
                  <c:v>1</c:v>
                </c:pt>
                <c:pt idx="375">
                  <c:v>4</c:v>
                </c:pt>
                <c:pt idx="376">
                  <c:v>1</c:v>
                </c:pt>
                <c:pt idx="377">
                  <c:v>4</c:v>
                </c:pt>
                <c:pt idx="378">
                  <c:v>3</c:v>
                </c:pt>
                <c:pt idx="37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87</c:f>
              <c:numCache>
                <c:formatCode>m/d/yyyy</c:formatCode>
                <c:ptCount val="386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3</c:v>
                </c:pt>
                <c:pt idx="257">
                  <c:v>44349</c:v>
                </c:pt>
                <c:pt idx="258">
                  <c:v>44350</c:v>
                </c:pt>
                <c:pt idx="259">
                  <c:v>44358</c:v>
                </c:pt>
                <c:pt idx="260">
                  <c:v>44364</c:v>
                </c:pt>
                <c:pt idx="261">
                  <c:v>44370</c:v>
                </c:pt>
                <c:pt idx="262">
                  <c:v>44371</c:v>
                </c:pt>
                <c:pt idx="263">
                  <c:v>44377</c:v>
                </c:pt>
                <c:pt idx="264">
                  <c:v>44378</c:v>
                </c:pt>
                <c:pt idx="265">
                  <c:v>44381</c:v>
                </c:pt>
                <c:pt idx="266">
                  <c:v>44385</c:v>
                </c:pt>
                <c:pt idx="267">
                  <c:v>44388</c:v>
                </c:pt>
                <c:pt idx="268">
                  <c:v>44398</c:v>
                </c:pt>
                <c:pt idx="269">
                  <c:v>44401</c:v>
                </c:pt>
                <c:pt idx="270">
                  <c:v>44404</c:v>
                </c:pt>
                <c:pt idx="271">
                  <c:v>44405</c:v>
                </c:pt>
                <c:pt idx="272">
                  <c:v>44416</c:v>
                </c:pt>
                <c:pt idx="273">
                  <c:v>44419</c:v>
                </c:pt>
                <c:pt idx="274">
                  <c:v>44424</c:v>
                </c:pt>
                <c:pt idx="275">
                  <c:v>44425</c:v>
                </c:pt>
                <c:pt idx="276">
                  <c:v>44427</c:v>
                </c:pt>
                <c:pt idx="277">
                  <c:v>44431</c:v>
                </c:pt>
                <c:pt idx="278">
                  <c:v>44434</c:v>
                </c:pt>
                <c:pt idx="279">
                  <c:v>44435</c:v>
                </c:pt>
                <c:pt idx="280">
                  <c:v>44436</c:v>
                </c:pt>
                <c:pt idx="281">
                  <c:v>44440</c:v>
                </c:pt>
                <c:pt idx="282">
                  <c:v>44441</c:v>
                </c:pt>
                <c:pt idx="283">
                  <c:v>44442</c:v>
                </c:pt>
                <c:pt idx="284">
                  <c:v>44443</c:v>
                </c:pt>
                <c:pt idx="285">
                  <c:v>44445</c:v>
                </c:pt>
                <c:pt idx="286">
                  <c:v>44446</c:v>
                </c:pt>
                <c:pt idx="287">
                  <c:v>44447</c:v>
                </c:pt>
                <c:pt idx="288">
                  <c:v>44448</c:v>
                </c:pt>
                <c:pt idx="289">
                  <c:v>44451</c:v>
                </c:pt>
                <c:pt idx="290">
                  <c:v>44452</c:v>
                </c:pt>
                <c:pt idx="291">
                  <c:v>44453</c:v>
                </c:pt>
                <c:pt idx="292">
                  <c:v>44457</c:v>
                </c:pt>
                <c:pt idx="293">
                  <c:v>44459</c:v>
                </c:pt>
                <c:pt idx="294">
                  <c:v>44460</c:v>
                </c:pt>
                <c:pt idx="295">
                  <c:v>44461</c:v>
                </c:pt>
                <c:pt idx="296">
                  <c:v>44464</c:v>
                </c:pt>
                <c:pt idx="297">
                  <c:v>44465</c:v>
                </c:pt>
                <c:pt idx="298">
                  <c:v>44466</c:v>
                </c:pt>
                <c:pt idx="299">
                  <c:v>44467</c:v>
                </c:pt>
                <c:pt idx="300">
                  <c:v>44468</c:v>
                </c:pt>
                <c:pt idx="301">
                  <c:v>44469</c:v>
                </c:pt>
                <c:pt idx="302">
                  <c:v>44470</c:v>
                </c:pt>
                <c:pt idx="303">
                  <c:v>44471</c:v>
                </c:pt>
                <c:pt idx="304">
                  <c:v>44472</c:v>
                </c:pt>
                <c:pt idx="305">
                  <c:v>44473</c:v>
                </c:pt>
                <c:pt idx="306">
                  <c:v>44474</c:v>
                </c:pt>
                <c:pt idx="307">
                  <c:v>44475</c:v>
                </c:pt>
                <c:pt idx="308">
                  <c:v>44476</c:v>
                </c:pt>
                <c:pt idx="309">
                  <c:v>44477</c:v>
                </c:pt>
                <c:pt idx="310">
                  <c:v>44478</c:v>
                </c:pt>
                <c:pt idx="311">
                  <c:v>44480</c:v>
                </c:pt>
                <c:pt idx="312">
                  <c:v>44481</c:v>
                </c:pt>
                <c:pt idx="313">
                  <c:v>44482</c:v>
                </c:pt>
                <c:pt idx="314">
                  <c:v>44483</c:v>
                </c:pt>
                <c:pt idx="315">
                  <c:v>44484</c:v>
                </c:pt>
                <c:pt idx="316">
                  <c:v>44485</c:v>
                </c:pt>
                <c:pt idx="317">
                  <c:v>44486</c:v>
                </c:pt>
                <c:pt idx="318">
                  <c:v>44487</c:v>
                </c:pt>
                <c:pt idx="319">
                  <c:v>44488</c:v>
                </c:pt>
                <c:pt idx="320">
                  <c:v>44489</c:v>
                </c:pt>
                <c:pt idx="321">
                  <c:v>44490</c:v>
                </c:pt>
                <c:pt idx="322">
                  <c:v>44491</c:v>
                </c:pt>
                <c:pt idx="323">
                  <c:v>44492</c:v>
                </c:pt>
                <c:pt idx="324">
                  <c:v>44493</c:v>
                </c:pt>
                <c:pt idx="325">
                  <c:v>44494</c:v>
                </c:pt>
                <c:pt idx="326">
                  <c:v>44495</c:v>
                </c:pt>
                <c:pt idx="327">
                  <c:v>44496</c:v>
                </c:pt>
                <c:pt idx="328">
                  <c:v>44497</c:v>
                </c:pt>
                <c:pt idx="329">
                  <c:v>44498</c:v>
                </c:pt>
                <c:pt idx="330">
                  <c:v>44499</c:v>
                </c:pt>
                <c:pt idx="331">
                  <c:v>44500</c:v>
                </c:pt>
                <c:pt idx="332">
                  <c:v>44501</c:v>
                </c:pt>
                <c:pt idx="333">
                  <c:v>44502</c:v>
                </c:pt>
                <c:pt idx="334">
                  <c:v>44503</c:v>
                </c:pt>
                <c:pt idx="335">
                  <c:v>44504</c:v>
                </c:pt>
                <c:pt idx="336">
                  <c:v>44505</c:v>
                </c:pt>
                <c:pt idx="337">
                  <c:v>44506</c:v>
                </c:pt>
                <c:pt idx="338">
                  <c:v>44507</c:v>
                </c:pt>
                <c:pt idx="339">
                  <c:v>44508</c:v>
                </c:pt>
                <c:pt idx="340">
                  <c:v>44509</c:v>
                </c:pt>
                <c:pt idx="341">
                  <c:v>44510</c:v>
                </c:pt>
                <c:pt idx="342">
                  <c:v>44511</c:v>
                </c:pt>
                <c:pt idx="343">
                  <c:v>44512</c:v>
                </c:pt>
                <c:pt idx="344">
                  <c:v>44513</c:v>
                </c:pt>
                <c:pt idx="345">
                  <c:v>44514</c:v>
                </c:pt>
                <c:pt idx="346">
                  <c:v>44515</c:v>
                </c:pt>
                <c:pt idx="347">
                  <c:v>44516</c:v>
                </c:pt>
                <c:pt idx="348">
                  <c:v>44517</c:v>
                </c:pt>
                <c:pt idx="349">
                  <c:v>44518</c:v>
                </c:pt>
                <c:pt idx="350">
                  <c:v>44519</c:v>
                </c:pt>
                <c:pt idx="351">
                  <c:v>44520</c:v>
                </c:pt>
                <c:pt idx="352">
                  <c:v>44521</c:v>
                </c:pt>
                <c:pt idx="353">
                  <c:v>44522</c:v>
                </c:pt>
                <c:pt idx="354">
                  <c:v>44523</c:v>
                </c:pt>
                <c:pt idx="355">
                  <c:v>44524</c:v>
                </c:pt>
                <c:pt idx="356">
                  <c:v>44525</c:v>
                </c:pt>
                <c:pt idx="357">
                  <c:v>44526</c:v>
                </c:pt>
                <c:pt idx="358">
                  <c:v>44527</c:v>
                </c:pt>
                <c:pt idx="359">
                  <c:v>44528</c:v>
                </c:pt>
                <c:pt idx="360">
                  <c:v>44529</c:v>
                </c:pt>
                <c:pt idx="361">
                  <c:v>44530</c:v>
                </c:pt>
                <c:pt idx="362">
                  <c:v>44531</c:v>
                </c:pt>
                <c:pt idx="363">
                  <c:v>44532</c:v>
                </c:pt>
                <c:pt idx="364">
                  <c:v>44533</c:v>
                </c:pt>
                <c:pt idx="365">
                  <c:v>44534</c:v>
                </c:pt>
                <c:pt idx="366">
                  <c:v>44535</c:v>
                </c:pt>
                <c:pt idx="367">
                  <c:v>44536</c:v>
                </c:pt>
                <c:pt idx="368">
                  <c:v>44537</c:v>
                </c:pt>
                <c:pt idx="369">
                  <c:v>44538</c:v>
                </c:pt>
                <c:pt idx="370">
                  <c:v>44539</c:v>
                </c:pt>
                <c:pt idx="371">
                  <c:v>44540</c:v>
                </c:pt>
                <c:pt idx="372">
                  <c:v>44541</c:v>
                </c:pt>
                <c:pt idx="373">
                  <c:v>44542</c:v>
                </c:pt>
                <c:pt idx="374">
                  <c:v>44543</c:v>
                </c:pt>
                <c:pt idx="375">
                  <c:v>44544</c:v>
                </c:pt>
                <c:pt idx="376">
                  <c:v>44545</c:v>
                </c:pt>
                <c:pt idx="377">
                  <c:v>44546</c:v>
                </c:pt>
                <c:pt idx="378">
                  <c:v>44547</c:v>
                </c:pt>
                <c:pt idx="379">
                  <c:v>44548</c:v>
                </c:pt>
                <c:pt idx="380">
                  <c:v>44549</c:v>
                </c:pt>
                <c:pt idx="381">
                  <c:v>44550</c:v>
                </c:pt>
                <c:pt idx="382">
                  <c:v>44551</c:v>
                </c:pt>
                <c:pt idx="383">
                  <c:v>44552</c:v>
                </c:pt>
                <c:pt idx="384">
                  <c:v>44553</c:v>
                </c:pt>
                <c:pt idx="385">
                  <c:v>44554</c:v>
                </c:pt>
              </c:numCache>
            </c:numRef>
          </c:cat>
          <c:val>
            <c:numRef>
              <c:f>Sheet1!$B$2:$B$387</c:f>
              <c:numCache>
                <c:formatCode>General</c:formatCode>
                <c:ptCount val="38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5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8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9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2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3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0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2</c:v>
                </c:pt>
                <c:pt idx="198">
                  <c:v>1</c:v>
                </c:pt>
                <c:pt idx="199">
                  <c:v>0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1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1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1</c:v>
                </c:pt>
                <c:pt idx="308">
                  <c:v>1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3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1</c:v>
                </c:pt>
                <c:pt idx="323">
                  <c:v>0</c:v>
                </c:pt>
                <c:pt idx="324">
                  <c:v>0</c:v>
                </c:pt>
                <c:pt idx="325">
                  <c:v>1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0</c:v>
                </c:pt>
                <c:pt idx="331">
                  <c:v>1</c:v>
                </c:pt>
                <c:pt idx="332">
                  <c:v>1</c:v>
                </c:pt>
                <c:pt idx="333">
                  <c:v>1</c:v>
                </c:pt>
                <c:pt idx="334">
                  <c:v>1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1</c:v>
                </c:pt>
                <c:pt idx="339">
                  <c:v>0</c:v>
                </c:pt>
                <c:pt idx="340">
                  <c:v>3</c:v>
                </c:pt>
                <c:pt idx="341">
                  <c:v>0</c:v>
                </c:pt>
                <c:pt idx="342">
                  <c:v>1</c:v>
                </c:pt>
                <c:pt idx="343">
                  <c:v>0</c:v>
                </c:pt>
                <c:pt idx="344">
                  <c:v>2</c:v>
                </c:pt>
                <c:pt idx="345">
                  <c:v>2</c:v>
                </c:pt>
                <c:pt idx="346">
                  <c:v>1</c:v>
                </c:pt>
                <c:pt idx="347">
                  <c:v>1</c:v>
                </c:pt>
                <c:pt idx="348">
                  <c:v>0</c:v>
                </c:pt>
                <c:pt idx="349">
                  <c:v>6</c:v>
                </c:pt>
                <c:pt idx="350">
                  <c:v>3</c:v>
                </c:pt>
                <c:pt idx="351">
                  <c:v>1</c:v>
                </c:pt>
                <c:pt idx="352">
                  <c:v>2</c:v>
                </c:pt>
                <c:pt idx="353">
                  <c:v>2</c:v>
                </c:pt>
                <c:pt idx="354">
                  <c:v>0</c:v>
                </c:pt>
                <c:pt idx="355">
                  <c:v>5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1</c:v>
                </c:pt>
                <c:pt idx="364">
                  <c:v>0</c:v>
                </c:pt>
                <c:pt idx="365">
                  <c:v>0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1</c:v>
                </c:pt>
                <c:pt idx="370">
                  <c:v>2</c:v>
                </c:pt>
                <c:pt idx="371">
                  <c:v>1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1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31</c:v>
                </c:pt>
                <c:pt idx="1">
                  <c:v>89</c:v>
                </c:pt>
                <c:pt idx="2">
                  <c:v>114</c:v>
                </c:pt>
                <c:pt idx="3">
                  <c:v>119</c:v>
                </c:pt>
                <c:pt idx="4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10</c:v>
                </c:pt>
                <c:pt idx="1">
                  <c:v>240</c:v>
                </c:pt>
                <c:pt idx="2">
                  <c:v>103</c:v>
                </c:pt>
                <c:pt idx="3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7023532791809224</c:v>
                </c:pt>
                <c:pt idx="1">
                  <c:v>0.22976467208190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3476295282850514</c:v>
                </c:pt>
                <c:pt idx="1">
                  <c:v>0.36523704717149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70689343475781885</c:v>
                </c:pt>
                <c:pt idx="1">
                  <c:v>0.29310656524218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878745886021136</c:v>
                </c:pt>
                <c:pt idx="1">
                  <c:v>1.212541139788671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7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5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8.xml"/><Relationship Id="rId5" Type="http://schemas.openxmlformats.org/officeDocument/2006/relationships/tags" Target="../tags/tag15.xml"/><Relationship Id="rId10" Type="http://schemas.openxmlformats.org/officeDocument/2006/relationships/chart" Target="../charts/chart7.xml"/><Relationship Id="rId4" Type="http://schemas.openxmlformats.org/officeDocument/2006/relationships/tags" Target="../tags/tag14.xml"/><Relationship Id="rId9" Type="http://schemas.openxmlformats.org/officeDocument/2006/relationships/chart" Target="../charts/char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0.xml"/><Relationship Id="rId5" Type="http://schemas.openxmlformats.org/officeDocument/2006/relationships/tags" Target="../tags/tag22.xml"/><Relationship Id="rId10" Type="http://schemas.openxmlformats.org/officeDocument/2006/relationships/chart" Target="../charts/chart9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chart" Target="../charts/char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583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6" y="109952"/>
            <a:ext cx="113270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šíření nákazy v pobytových sociálních službách je ze strany poskytovatelů reprezentativní, celý systém dosahuje více než 81% pokrytí tohoto segmentu péče. Za celé období sledování od podzimu 2020 bylo registrováno přes 24 500 nakažených klientů a více než 17 500 nakažených pracovníků. Hlášení o úmrtích COVID pozitivních klientů přesáhlo 3 400, pracovníků zemřelo 21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53656" y="2189018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7618" y="2834400"/>
            <a:ext cx="1178744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46 nákaz pracovníků a 814 nákaz klientů pobytových sociálních služeb. Počet hlášených úmrtí klientů dosáhnul v listopadu hodnoty 112. Ačkoli jde o výrazný nárůst, stále se jedná o počty významně nižší než v zimních až jarních měsících 2021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69991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618" y="5303360"/>
            <a:ext cx="1178744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 prosinec bylo k datu 26.12. dosud na bázi přímého hlášení od poskytovatelů sociálních služeb registrováno 512 nákaz u personálu a 352 nákaz u klientů. Celkem 48 nakažených klientů zemřelo. Počty případů s těžkým průběhem nákazy, zejména vyžadujícím hospitalizaci, zůstávají nízké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ednotkách případů denně v celé </a:t>
            </a:r>
            <a:r>
              <a:rPr lang="cs-CZ" sz="2200" b="1" dirty="0">
                <a:latin typeface="Calibri" panose="020F0502020204030204"/>
              </a:rPr>
              <a:t>Č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22241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595838"/>
              </p:ext>
            </p:extLst>
          </p:nvPr>
        </p:nvGraphicFramePr>
        <p:xfrm>
          <a:off x="2093976" y="3337044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14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7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1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00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81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2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19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72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5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61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60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83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5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17%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78%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90754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76567234"/>
              </p:ext>
            </p:ext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85692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9364910"/>
              </p:ext>
            </p:extLst>
          </p:nvPr>
        </p:nvGraphicFramePr>
        <p:xfrm>
          <a:off x="1563624" y="3303770"/>
          <a:ext cx="10232136" cy="328372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2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9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8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4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.8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9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3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5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8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4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1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5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4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8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560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94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154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5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0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3%</a:t>
                      </a:r>
                    </a:p>
                  </a:txBody>
                  <a:tcPr marL="6350" marR="6350" marT="635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816285"/>
              </p:ext>
            </p:ext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56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9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154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6089193"/>
              </p:ext>
            </p:ext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07833848"/>
              </p:ext>
            </p:ext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63263769"/>
              </p:ext>
            </p:ext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68680591"/>
              </p:ext>
            </p:ext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  <a:r>
              <a:rPr lang="cs-CZ" sz="1200" b="1" dirty="0">
                <a:solidFill>
                  <a:srgbClr val="C00000"/>
                </a:solidFill>
                <a:latin typeface="Arial" panose="020B0604020202020204"/>
              </a:rPr>
              <a:t>26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12. 2021</a:t>
            </a:r>
          </a:p>
        </p:txBody>
      </p:sp>
    </p:spTree>
    <p:extLst>
      <p:ext uri="{BB962C8B-B14F-4D97-AF65-F5344CB8AC3E}">
        <p14:creationId xmlns:p14="http://schemas.microsoft.com/office/powerpoint/2010/main" val="28999270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1155558"/>
              </p:ext>
            </p:ext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5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52533224"/>
              </p:ext>
            </p:ext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27225075"/>
              </p:ext>
            </p:ext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50420231"/>
              </p:ext>
            </p:extLst>
          </p:nvPr>
        </p:nvGraphicFramePr>
        <p:xfrm>
          <a:off x="1540765" y="2971287"/>
          <a:ext cx="10115198" cy="3252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%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5 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2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8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1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8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1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4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2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8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35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2 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15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748 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7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2. 2021</a:t>
            </a:r>
          </a:p>
        </p:txBody>
      </p:sp>
    </p:spTree>
    <p:extLst>
      <p:ext uri="{BB962C8B-B14F-4D97-AF65-F5344CB8AC3E}">
        <p14:creationId xmlns:p14="http://schemas.microsoft.com/office/powerpoint/2010/main" val="3543430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231927"/>
              </p:ext>
            </p:ext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1936"/>
              </p:ext>
            </p:ext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2. 2021</a:t>
            </a:r>
          </a:p>
        </p:txBody>
      </p:sp>
    </p:spTree>
    <p:extLst>
      <p:ext uri="{BB962C8B-B14F-4D97-AF65-F5344CB8AC3E}">
        <p14:creationId xmlns:p14="http://schemas.microsoft.com/office/powerpoint/2010/main" val="11059652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486239"/>
              </p:ext>
            </p:ext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86879"/>
              </p:ext>
            </p:ext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2. 2021</a:t>
            </a:r>
          </a:p>
        </p:txBody>
      </p:sp>
    </p:spTree>
    <p:extLst>
      <p:ext uri="{BB962C8B-B14F-4D97-AF65-F5344CB8AC3E}">
        <p14:creationId xmlns:p14="http://schemas.microsoft.com/office/powerpoint/2010/main" val="39975522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5012333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2495648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737945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114448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294747"/>
              </p:ext>
            </p:ext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722470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436867"/>
              </p:ext>
            </p:extLst>
          </p:nvPr>
        </p:nvGraphicFramePr>
        <p:xfrm>
          <a:off x="136358" y="951383"/>
          <a:ext cx="11895224" cy="55917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1496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26. 12.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</a:t>
                      </a:r>
                    </a:p>
                  </a:txBody>
                  <a:tcPr marL="6350" marR="6350" marT="6350" marB="0" anchor="b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5385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563682"/>
              </p:ext>
            </p:ext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7507431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549667"/>
              </p:ext>
            </p:extLst>
          </p:nvPr>
        </p:nvGraphicFramePr>
        <p:xfrm>
          <a:off x="136358" y="1205302"/>
          <a:ext cx="11895224" cy="51684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1496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4290927774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557076706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2514004190"/>
                    </a:ext>
                  </a:extLst>
                </a:gridCol>
                <a:gridCol w="336679">
                  <a:extLst>
                    <a:ext uri="{9D8B030D-6E8A-4147-A177-3AD203B41FA5}">
                      <a16:colId xmlns:a16="http://schemas.microsoft.com/office/drawing/2014/main" val="1775390072"/>
                    </a:ext>
                  </a:extLst>
                </a:gridCol>
              </a:tblGrid>
              <a:tr h="547656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 marT="41564" marB="41564"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Září 2020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Říjen 2020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Listopad 2020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Prosinec 2020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Leden 2021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5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Září 2021</a:t>
                      </a:r>
                      <a:endParaRPr lang="cs-CZ" sz="700" dirty="0"/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700" dirty="0"/>
                        <a:t>– k 26. 12.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1564" marB="41564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288240">
                <a:tc>
                  <a:txBody>
                    <a:bodyPr/>
                    <a:lstStyle/>
                    <a:p>
                      <a:endParaRPr lang="cs-CZ" sz="1100" dirty="0"/>
                    </a:p>
                  </a:txBody>
                  <a:tcPr marT="41564" marB="41564"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5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605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8659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5489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605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5489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72353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86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93855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16198"/>
              </p:ext>
            </p:ext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177860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0872101"/>
              </p:ext>
            </p:ext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0439696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28600" y="712116"/>
            <a:ext cx="113270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Jde ale o počty, které jsou velmi významně nižší ve srovnání např. s jarem 2021. KHS identifikovaly za říjen 15 ohnisek v sociálních zařízeních (celkem 158 nakažených osob) a za listopad 39 ohnisek s celkem 644 dosud zařazenými nakaženými osobami. </a:t>
            </a:r>
          </a:p>
          <a:p>
            <a:pPr algn="ctr">
              <a:defRPr/>
            </a:pPr>
            <a:endParaRPr lang="cs-CZ" sz="2400" b="1" dirty="0"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Za prosinec bylo k datu 26.12. ze strany KHS identifikováno a nahlášeno 35 událostí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v sociálních zařízeních s celkem 503 nakaženými osobami. </a:t>
            </a: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velmi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jednotkové výskyty nákazy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32579" y="5737257"/>
            <a:ext cx="1319062" cy="817253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90D6418-F6BC-4D42-846A-3F551296B8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0451317"/>
              </p:ext>
            </p:extLst>
          </p:nvPr>
        </p:nvGraphicFramePr>
        <p:xfrm>
          <a:off x="1013041" y="5723959"/>
          <a:ext cx="10931289" cy="735210"/>
        </p:xfrm>
        <a:graphic>
          <a:graphicData uri="http://schemas.openxmlformats.org/drawingml/2006/table">
            <a:tbl>
              <a:tblPr/>
              <a:tblGrid>
                <a:gridCol w="125647">
                  <a:extLst>
                    <a:ext uri="{9D8B030D-6E8A-4147-A177-3AD203B41FA5}">
                      <a16:colId xmlns:a16="http://schemas.microsoft.com/office/drawing/2014/main" val="3804292236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66708910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651891556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589025243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61873167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05603915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772091249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338987378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78338012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52041871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64356471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215633176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88209684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05405699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26646213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766106988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406795098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68929615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941282917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53095850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265378116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45602765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551797966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541171073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153924207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83064868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846600052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017790425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84109117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133742437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940637312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55143996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40150469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561087092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264485263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97121866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604311349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11954374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49364070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435864247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81833968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653286079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22676182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19279670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657811138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363640612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696879189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814429147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08760406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06979238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56601772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67072519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85919718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289098579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6909571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68251538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749569523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99795179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80814360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07361864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022605266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40016550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64583849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6190456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283658297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59023223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202253314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201887865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75410179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10162641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844790666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740819778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805359568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561463317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857241693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521882635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416405483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50538480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06296968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199851703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480319346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3366684561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234096828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892512733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077846345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297755997"/>
                    </a:ext>
                  </a:extLst>
                </a:gridCol>
                <a:gridCol w="125647">
                  <a:extLst>
                    <a:ext uri="{9D8B030D-6E8A-4147-A177-3AD203B41FA5}">
                      <a16:colId xmlns:a16="http://schemas.microsoft.com/office/drawing/2014/main" val="1923473225"/>
                    </a:ext>
                  </a:extLst>
                </a:gridCol>
              </a:tblGrid>
              <a:tr h="3676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0634875"/>
                  </a:ext>
                </a:extLst>
              </a:tr>
              <a:tr h="3676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280199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203006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12. 2021</a:t>
            </a: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982729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552454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8296815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3BC88CD-BDED-461F-9AD0-DBBBFC790F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283665"/>
              </p:ext>
            </p:extLst>
          </p:nvPr>
        </p:nvGraphicFramePr>
        <p:xfrm>
          <a:off x="7428791" y="5737703"/>
          <a:ext cx="4564860" cy="731520"/>
        </p:xfrm>
        <a:graphic>
          <a:graphicData uri="http://schemas.openxmlformats.org/drawingml/2006/table">
            <a:tbl>
              <a:tblPr/>
              <a:tblGrid>
                <a:gridCol w="228243">
                  <a:extLst>
                    <a:ext uri="{9D8B030D-6E8A-4147-A177-3AD203B41FA5}">
                      <a16:colId xmlns:a16="http://schemas.microsoft.com/office/drawing/2014/main" val="70685990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95496022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61577007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79125801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95426755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31850395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56364485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03836046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54029120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87966172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43103811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57864691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47597255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68293918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22251782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91360833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58264074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9309548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612436934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994508902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51988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79868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7713745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12/2021 k 26. 12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15622" y="5505680"/>
            <a:ext cx="6270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26. 12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7681891"/>
              </p:ext>
            </p:extLst>
          </p:nvPr>
        </p:nvGraphicFramePr>
        <p:xfrm>
          <a:off x="47625" y="989354"/>
          <a:ext cx="6437728" cy="5416275"/>
        </p:xfrm>
        <a:graphic>
          <a:graphicData uri="http://schemas.openxmlformats.org/drawingml/2006/table">
            <a:tbl>
              <a:tblPr/>
              <a:tblGrid>
                <a:gridCol w="58781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8749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 </a:t>
                      </a:r>
                    </a:p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26. 12.</a:t>
                      </a:r>
                      <a:endParaRPr lang="cs-CZ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48F4C18A-EE9A-401E-AD18-7AD75390AC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4753343"/>
              </p:ext>
            </p:extLst>
          </p:nvPr>
        </p:nvGraphicFramePr>
        <p:xfrm>
          <a:off x="7428791" y="1281793"/>
          <a:ext cx="4564860" cy="418818"/>
        </p:xfrm>
        <a:graphic>
          <a:graphicData uri="http://schemas.openxmlformats.org/drawingml/2006/table">
            <a:tbl>
              <a:tblPr/>
              <a:tblGrid>
                <a:gridCol w="228243">
                  <a:extLst>
                    <a:ext uri="{9D8B030D-6E8A-4147-A177-3AD203B41FA5}">
                      <a16:colId xmlns:a16="http://schemas.microsoft.com/office/drawing/2014/main" val="322026063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70253915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04083209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59854750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03791896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4234869655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909391683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97467003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02448789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68788183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51469872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634973409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513353188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0730634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33197988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701606006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1888316397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332387421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2001993470"/>
                    </a:ext>
                  </a:extLst>
                </a:gridCol>
                <a:gridCol w="228243">
                  <a:extLst>
                    <a:ext uri="{9D8B030D-6E8A-4147-A177-3AD203B41FA5}">
                      <a16:colId xmlns:a16="http://schemas.microsoft.com/office/drawing/2014/main" val="3586669802"/>
                    </a:ext>
                  </a:extLst>
                </a:gridCol>
              </a:tblGrid>
              <a:tr h="78746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215" marR="8215" marT="821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0839525"/>
                  </a:ext>
                </a:extLst>
              </a:tr>
              <a:tr h="3400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8215" marR="8215" marT="821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5479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809721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09673"/>
          <a:ext cx="9684753" cy="550316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480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03920505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0882213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5508506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830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98E19316-6850-41B8-9FEA-8130CACEFC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0943751"/>
              </p:ext>
            </p:extLst>
          </p:nvPr>
        </p:nvGraphicFramePr>
        <p:xfrm>
          <a:off x="8762002" y="987423"/>
          <a:ext cx="724898" cy="5460980"/>
        </p:xfrm>
        <a:graphic>
          <a:graphicData uri="http://schemas.openxmlformats.org/drawingml/2006/table">
            <a:tbl>
              <a:tblPr/>
              <a:tblGrid>
                <a:gridCol w="724898">
                  <a:extLst>
                    <a:ext uri="{9D8B030D-6E8A-4147-A177-3AD203B41FA5}">
                      <a16:colId xmlns:a16="http://schemas.microsoft.com/office/drawing/2014/main" val="1989000463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353392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835174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53467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626157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68108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5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801719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19631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87562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37499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452385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93244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58291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77154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21920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07945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448200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97901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30266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44374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740851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12259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23894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43502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1945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78014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89034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25413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1177233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2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6744991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9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8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 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6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DBE3DC47-2A00-4C1B-82E5-9B8A7BFE53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294589"/>
              </p:ext>
            </p:extLst>
          </p:nvPr>
        </p:nvGraphicFramePr>
        <p:xfrm>
          <a:off x="8800417" y="1158871"/>
          <a:ext cx="657907" cy="5289543"/>
        </p:xfrm>
        <a:graphic>
          <a:graphicData uri="http://schemas.openxmlformats.org/drawingml/2006/table">
            <a:tbl>
              <a:tblPr/>
              <a:tblGrid>
                <a:gridCol w="657907">
                  <a:extLst>
                    <a:ext uri="{9D8B030D-6E8A-4147-A177-3AD203B41FA5}">
                      <a16:colId xmlns:a16="http://schemas.microsoft.com/office/drawing/2014/main" val="4119272519"/>
                    </a:ext>
                  </a:extLst>
                </a:gridCol>
              </a:tblGrid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596244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955723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73406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8247524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225664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193351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59012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248016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1905086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1382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141598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7938186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213461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339408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897922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42431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70027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54315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6716667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55473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314868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737649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456780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90483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632068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857875"/>
                  </a:ext>
                </a:extLst>
              </a:tr>
              <a:tr h="195909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416933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2. 2021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30587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422 (13 57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77 (1 25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654 (11 14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45 (1 09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737 (60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8 (4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33 (15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11 (1 29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8 (5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96 (8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 (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4 (11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3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 (1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41697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748141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571802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90C4960-2B39-4581-A7BE-1C39DF9523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173694"/>
              </p:ext>
            </p:extLst>
          </p:nvPr>
        </p:nvGraphicFramePr>
        <p:xfrm>
          <a:off x="7349382" y="5543019"/>
          <a:ext cx="4568085" cy="874168"/>
        </p:xfrm>
        <a:graphic>
          <a:graphicData uri="http://schemas.openxmlformats.org/drawingml/2006/table">
            <a:tbl>
              <a:tblPr/>
              <a:tblGrid>
                <a:gridCol w="913617">
                  <a:extLst>
                    <a:ext uri="{9D8B030D-6E8A-4147-A177-3AD203B41FA5}">
                      <a16:colId xmlns:a16="http://schemas.microsoft.com/office/drawing/2014/main" val="3995385958"/>
                    </a:ext>
                  </a:extLst>
                </a:gridCol>
                <a:gridCol w="913617">
                  <a:extLst>
                    <a:ext uri="{9D8B030D-6E8A-4147-A177-3AD203B41FA5}">
                      <a16:colId xmlns:a16="http://schemas.microsoft.com/office/drawing/2014/main" val="591388613"/>
                    </a:ext>
                  </a:extLst>
                </a:gridCol>
                <a:gridCol w="913617">
                  <a:extLst>
                    <a:ext uri="{9D8B030D-6E8A-4147-A177-3AD203B41FA5}">
                      <a16:colId xmlns:a16="http://schemas.microsoft.com/office/drawing/2014/main" val="2289734197"/>
                    </a:ext>
                  </a:extLst>
                </a:gridCol>
                <a:gridCol w="913617">
                  <a:extLst>
                    <a:ext uri="{9D8B030D-6E8A-4147-A177-3AD203B41FA5}">
                      <a16:colId xmlns:a16="http://schemas.microsoft.com/office/drawing/2014/main" val="2281318379"/>
                    </a:ext>
                  </a:extLst>
                </a:gridCol>
                <a:gridCol w="913617">
                  <a:extLst>
                    <a:ext uri="{9D8B030D-6E8A-4147-A177-3AD203B41FA5}">
                      <a16:colId xmlns:a16="http://schemas.microsoft.com/office/drawing/2014/main" val="785508786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78158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93804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12. 2021</a:t>
            </a: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 k 26. 12.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298161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4537186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4" name="Obdélník 23">
            <a:extLst>
              <a:ext uri="{FF2B5EF4-FFF2-40B4-BE49-F238E27FC236}">
                <a16:creationId xmlns:a16="http://schemas.microsoft.com/office/drawing/2014/main" id="{D036907E-4A47-4792-B2DB-628CFFE084EE}"/>
              </a:ext>
            </a:extLst>
          </p:cNvPr>
          <p:cNvSpPr/>
          <p:nvPr/>
        </p:nvSpPr>
        <p:spPr>
          <a:xfrm>
            <a:off x="2851741" y="1185499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0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4009403"/>
              </p:ext>
            </p:extLst>
          </p:nvPr>
        </p:nvGraphicFramePr>
        <p:xfrm>
          <a:off x="1372685" y="1009673"/>
          <a:ext cx="9684753" cy="548830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2877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2427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2474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0310336"/>
                  </a:ext>
                </a:extLst>
              </a:tr>
              <a:tr h="14643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1. 12. – 26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2. 2021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738402"/>
              </p:ext>
            </p:extLst>
          </p:nvPr>
        </p:nvGraphicFramePr>
        <p:xfrm>
          <a:off x="1372685" y="1009673"/>
          <a:ext cx="9684753" cy="523876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31750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0454856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76891396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4100000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7637571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59814256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98455694"/>
                  </a:ext>
                </a:extLst>
              </a:tr>
              <a:tr h="3075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302</TotalTime>
  <Words>14399</Words>
  <Application>Microsoft Office PowerPoint</Application>
  <PresentationFormat>Širokoúhlá obrazovka</PresentationFormat>
  <Paragraphs>6179</Paragraphs>
  <Slides>57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7</vt:i4>
      </vt:variant>
    </vt:vector>
  </HeadingPairs>
  <TitlesOfParts>
    <vt:vector size="61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573</cp:revision>
  <dcterms:created xsi:type="dcterms:W3CDTF">2020-11-14T10:09:00Z</dcterms:created>
  <dcterms:modified xsi:type="dcterms:W3CDTF">2021-12-27T18:05:20Z</dcterms:modified>
</cp:coreProperties>
</file>